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charts/chartEx2.xml" ContentType="application/vnd.ms-office.chartex+xml"/>
  <Override PartName="/ppt/charts/style5.xml" ContentType="application/vnd.ms-office.chartstyle+xml"/>
  <Override PartName="/ppt/charts/colors5.xml" ContentType="application/vnd.ms-office.chartcolorstyle+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Ex4.xml" ContentType="application/vnd.ms-office.chartex+xml"/>
  <Override PartName="/ppt/charts/style7.xml" ContentType="application/vnd.ms-office.chartstyle+xml"/>
  <Override PartName="/ppt/charts/colors7.xml" ContentType="application/vnd.ms-office.chartcolorstyle+xml"/>
  <Override PartName="/ppt/charts/chart4.xml" ContentType="application/vnd.openxmlformats-officedocument.drawingml.chart+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635921-8B65-4DB1-9638-8A2A3594ADE3}" v="28" dt="2021-01-12T03:48:31.8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4" autoAdjust="0"/>
    <p:restoredTop sz="92802" autoAdjust="0"/>
  </p:normalViewPr>
  <p:slideViewPr>
    <p:cSldViewPr snapToGrid="0">
      <p:cViewPr varScale="1">
        <p:scale>
          <a:sx n="106" d="100"/>
          <a:sy n="106" d="100"/>
        </p:scale>
        <p:origin x="172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8.xml"/><Relationship Id="rId1" Type="http://schemas.microsoft.com/office/2011/relationships/chartStyle" Target="style8.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0.xml"/><Relationship Id="rId1" Type="http://schemas.microsoft.com/office/2011/relationships/chartStyle" Target="style10.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docs.live.net/efa1b24c1e534f6d/Desktop/ko.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docs.live.net/efa1b24c1e534f6d/Desktop/k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Tdev!$H$1</c:f>
              <c:strCache>
                <c:ptCount val="1"/>
                <c:pt idx="0">
                  <c:v>Horse Power</c:v>
                </c:pt>
              </c:strCache>
            </c:strRef>
          </c:tx>
          <c:spPr>
            <a:ln w="28575" cap="rnd">
              <a:solidFill>
                <a:schemeClr val="accent1"/>
              </a:solidFill>
              <a:round/>
            </a:ln>
            <a:effectLst/>
          </c:spPr>
          <c:marker>
            <c:symbol val="none"/>
          </c:marker>
          <c:val>
            <c:numRef>
              <c:f>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2DFE-40DB-BE6D-BE84D5F1133E}"/>
            </c:ext>
          </c:extLst>
        </c:ser>
        <c:ser>
          <c:idx val="2"/>
          <c:order val="2"/>
          <c:tx>
            <c:strRef>
              <c:f>STdev!$J$1</c:f>
              <c:strCache>
                <c:ptCount val="1"/>
                <c:pt idx="0">
                  <c:v>PUMP FAILURE (1 or 0)</c:v>
                </c:pt>
              </c:strCache>
            </c:strRef>
          </c:tx>
          <c:spPr>
            <a:ln w="28575" cap="rnd">
              <a:solidFill>
                <a:schemeClr val="accent3"/>
              </a:solidFill>
              <a:round/>
            </a:ln>
            <a:effectLst/>
          </c:spPr>
          <c:marker>
            <c:symbol val="none"/>
          </c:marker>
          <c:val>
            <c:numRef>
              <c:f>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2DFE-40DB-BE6D-BE84D5F1133E}"/>
            </c:ext>
          </c:extLst>
        </c:ser>
        <c:dLbls>
          <c:showLegendKey val="0"/>
          <c:showVal val="0"/>
          <c:showCatName val="0"/>
          <c:showSerName val="0"/>
          <c:showPercent val="0"/>
          <c:showBubbleSize val="0"/>
        </c:dLbls>
        <c:marker val="1"/>
        <c:smooth val="0"/>
        <c:axId val="229903792"/>
        <c:axId val="2008193600"/>
      </c:lineChart>
      <c:lineChart>
        <c:grouping val="standard"/>
        <c:varyColors val="0"/>
        <c:ser>
          <c:idx val="1"/>
          <c:order val="1"/>
          <c:tx>
            <c:strRef>
              <c:f>STdev!$I$1</c:f>
              <c:strCache>
                <c:ptCount val="1"/>
                <c:pt idx="0">
                  <c:v>Pump Efficiency</c:v>
                </c:pt>
              </c:strCache>
            </c:strRef>
          </c:tx>
          <c:spPr>
            <a:ln w="28575" cap="rnd">
              <a:solidFill>
                <a:schemeClr val="accent2"/>
              </a:solidFill>
              <a:round/>
            </a:ln>
            <a:effectLst/>
          </c:spPr>
          <c:marker>
            <c:symbol val="none"/>
          </c:marker>
          <c:val>
            <c:numRef>
              <c:f>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2-2DFE-40DB-BE6D-BE84D5F1133E}"/>
            </c:ext>
          </c:extLst>
        </c:ser>
        <c:ser>
          <c:idx val="3"/>
          <c:order val="3"/>
          <c:tx>
            <c:strRef>
              <c:f>STdev!$K$1</c:f>
              <c:strCache>
                <c:ptCount val="1"/>
                <c:pt idx="0">
                  <c:v>Regression equation</c:v>
                </c:pt>
              </c:strCache>
            </c:strRef>
          </c:tx>
          <c:spPr>
            <a:ln w="28575" cap="rnd">
              <a:solidFill>
                <a:schemeClr val="accent4"/>
              </a:solidFill>
              <a:round/>
            </a:ln>
            <a:effectLst/>
          </c:spPr>
          <c:marker>
            <c:symbol val="none"/>
          </c:marker>
          <c:val>
            <c:numRef>
              <c:f>STdev!$K$2:$K$2453</c:f>
              <c:numCache>
                <c:formatCode>General</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2DFE-40DB-BE6D-BE84D5F1133E}"/>
            </c:ext>
          </c:extLst>
        </c:ser>
        <c:dLbls>
          <c:showLegendKey val="0"/>
          <c:showVal val="0"/>
          <c:showCatName val="0"/>
          <c:showSerName val="0"/>
          <c:showPercent val="0"/>
          <c:showBubbleSize val="0"/>
        </c:dLbls>
        <c:marker val="1"/>
        <c:smooth val="0"/>
        <c:axId val="2126103888"/>
        <c:axId val="1901641968"/>
      </c:lineChart>
      <c:catAx>
        <c:axId val="22990379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8193600"/>
        <c:crosses val="autoZero"/>
        <c:auto val="1"/>
        <c:lblAlgn val="ctr"/>
        <c:lblOffset val="100"/>
        <c:noMultiLvlLbl val="0"/>
      </c:catAx>
      <c:valAx>
        <c:axId val="20081936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903792"/>
        <c:crosses val="autoZero"/>
        <c:crossBetween val="between"/>
      </c:valAx>
      <c:valAx>
        <c:axId val="190164196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6103888"/>
        <c:crosses val="max"/>
        <c:crossBetween val="between"/>
      </c:valAx>
      <c:catAx>
        <c:axId val="2126103888"/>
        <c:scaling>
          <c:orientation val="minMax"/>
        </c:scaling>
        <c:delete val="1"/>
        <c:axPos val="b"/>
        <c:majorTickMark val="out"/>
        <c:minorTickMark val="none"/>
        <c:tickLblPos val="nextTo"/>
        <c:crossAx val="19016419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DRT Rolling Mean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C$2:$C$2454</c:f>
              <c:numCache>
                <c:formatCode>#,##0.00</c:formatCode>
                <c:ptCount val="2401"/>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20.336129032258068</c:v>
                </c:pt>
                <c:pt idx="2254">
                  <c:v>21.72129032258065</c:v>
                </c:pt>
                <c:pt idx="2255">
                  <c:v>23.081935483870971</c:v>
                </c:pt>
                <c:pt idx="2256">
                  <c:v>24.372580645161293</c:v>
                </c:pt>
                <c:pt idx="2257">
                  <c:v>25.719677419354841</c:v>
                </c:pt>
                <c:pt idx="2258">
                  <c:v>27.02741935483871</c:v>
                </c:pt>
                <c:pt idx="2259">
                  <c:v>28.379354838709677</c:v>
                </c:pt>
                <c:pt idx="2260">
                  <c:v>29.698709677419355</c:v>
                </c:pt>
                <c:pt idx="2261">
                  <c:v>31.054838709677416</c:v>
                </c:pt>
                <c:pt idx="2262">
                  <c:v>32.361290322580643</c:v>
                </c:pt>
                <c:pt idx="2263">
                  <c:v>33.670645161290324</c:v>
                </c:pt>
                <c:pt idx="2264">
                  <c:v>35.034516129032255</c:v>
                </c:pt>
                <c:pt idx="2265">
                  <c:v>36.404193548387099</c:v>
                </c:pt>
                <c:pt idx="2266">
                  <c:v>37.707096774193552</c:v>
                </c:pt>
                <c:pt idx="2267">
                  <c:v>39.032580645161289</c:v>
                </c:pt>
                <c:pt idx="2268">
                  <c:v>40.373548387096768</c:v>
                </c:pt>
                <c:pt idx="2269">
                  <c:v>41.692580645161293</c:v>
                </c:pt>
                <c:pt idx="2270">
                  <c:v>41.715483870967738</c:v>
                </c:pt>
                <c:pt idx="2271">
                  <c:v>41.707419354838706</c:v>
                </c:pt>
                <c:pt idx="2272">
                  <c:v>41.664193548387097</c:v>
                </c:pt>
                <c:pt idx="2273">
                  <c:v>41.673225806451605</c:v>
                </c:pt>
                <c:pt idx="2274">
                  <c:v>41.670967741935485</c:v>
                </c:pt>
                <c:pt idx="2275">
                  <c:v>41.647419354838711</c:v>
                </c:pt>
                <c:pt idx="2276">
                  <c:v>41.722258064516126</c:v>
                </c:pt>
                <c:pt idx="2277">
                  <c:v>41.697741935483869</c:v>
                </c:pt>
                <c:pt idx="2278">
                  <c:v>41.651935483870965</c:v>
                </c:pt>
                <c:pt idx="2279">
                  <c:v>41.653548387096777</c:v>
                </c:pt>
                <c:pt idx="2280">
                  <c:v>41.687419354838717</c:v>
                </c:pt>
                <c:pt idx="2281">
                  <c:v>41.592903225806445</c:v>
                </c:pt>
                <c:pt idx="2282">
                  <c:v>41.647419354838711</c:v>
                </c:pt>
                <c:pt idx="2283">
                  <c:v>41.537419354838704</c:v>
                </c:pt>
                <c:pt idx="2284">
                  <c:v>41.459354838709672</c:v>
                </c:pt>
                <c:pt idx="2285">
                  <c:v>41.446129032258057</c:v>
                </c:pt>
                <c:pt idx="2286">
                  <c:v>41.501612903225798</c:v>
                </c:pt>
                <c:pt idx="2287">
                  <c:v>41.517096774193547</c:v>
                </c:pt>
                <c:pt idx="2288">
                  <c:v>41.490967741935485</c:v>
                </c:pt>
                <c:pt idx="2289">
                  <c:v>41.520322580645171</c:v>
                </c:pt>
                <c:pt idx="2290">
                  <c:v>41.549354838709682</c:v>
                </c:pt>
                <c:pt idx="2291">
                  <c:v>41.64806451612904</c:v>
                </c:pt>
                <c:pt idx="2292">
                  <c:v>41.644193548387108</c:v>
                </c:pt>
                <c:pt idx="2293">
                  <c:v>41.69161290322581</c:v>
                </c:pt>
                <c:pt idx="2294">
                  <c:v>41.758064516129039</c:v>
                </c:pt>
                <c:pt idx="2295">
                  <c:v>41.811290322580653</c:v>
                </c:pt>
                <c:pt idx="2296">
                  <c:v>41.78161290322582</c:v>
                </c:pt>
                <c:pt idx="2297">
                  <c:v>41.882258064516144</c:v>
                </c:pt>
                <c:pt idx="2298">
                  <c:v>41.95419354838711</c:v>
                </c:pt>
                <c:pt idx="2299">
                  <c:v>42.01903225806452</c:v>
                </c:pt>
                <c:pt idx="2300">
                  <c:v>42.095161290322572</c:v>
                </c:pt>
                <c:pt idx="2301">
                  <c:v>42.077096774193549</c:v>
                </c:pt>
                <c:pt idx="2302">
                  <c:v>42.039032258064516</c:v>
                </c:pt>
                <c:pt idx="2303">
                  <c:v>42.13645161290323</c:v>
                </c:pt>
                <c:pt idx="2304">
                  <c:v>42.023870967741928</c:v>
                </c:pt>
                <c:pt idx="2305">
                  <c:v>42.028064516129028</c:v>
                </c:pt>
                <c:pt idx="2306">
                  <c:v>41.955161290322586</c:v>
                </c:pt>
                <c:pt idx="2307">
                  <c:v>41.943225806451615</c:v>
                </c:pt>
                <c:pt idx="2308">
                  <c:v>42.015806451612903</c:v>
                </c:pt>
                <c:pt idx="2309">
                  <c:v>42.025161290322572</c:v>
                </c:pt>
                <c:pt idx="2310">
                  <c:v>41.922258064516129</c:v>
                </c:pt>
                <c:pt idx="2311">
                  <c:v>41.976451612903219</c:v>
                </c:pt>
                <c:pt idx="2312">
                  <c:v>41.990645161290317</c:v>
                </c:pt>
                <c:pt idx="2313">
                  <c:v>42.025806451612894</c:v>
                </c:pt>
                <c:pt idx="2314">
                  <c:v>42.108709677419348</c:v>
                </c:pt>
                <c:pt idx="2315">
                  <c:v>42.144838709677423</c:v>
                </c:pt>
                <c:pt idx="2316">
                  <c:v>42.167096774193553</c:v>
                </c:pt>
                <c:pt idx="2317">
                  <c:v>42.097096774193545</c:v>
                </c:pt>
                <c:pt idx="2318">
                  <c:v>42.084193548387091</c:v>
                </c:pt>
                <c:pt idx="2319">
                  <c:v>42.120645161290312</c:v>
                </c:pt>
                <c:pt idx="2320">
                  <c:v>42.086451612903225</c:v>
                </c:pt>
                <c:pt idx="2321">
                  <c:v>42.077419354838703</c:v>
                </c:pt>
                <c:pt idx="2322">
                  <c:v>42.072580645161281</c:v>
                </c:pt>
                <c:pt idx="2323">
                  <c:v>42.100645161290316</c:v>
                </c:pt>
                <c:pt idx="2324">
                  <c:v>42.058064516129029</c:v>
                </c:pt>
                <c:pt idx="2325">
                  <c:v>42.013870967741944</c:v>
                </c:pt>
                <c:pt idx="2326">
                  <c:v>41.948387096774205</c:v>
                </c:pt>
                <c:pt idx="2327">
                  <c:v>41.96806451612904</c:v>
                </c:pt>
                <c:pt idx="2328">
                  <c:v>41.934838709677436</c:v>
                </c:pt>
                <c:pt idx="2329">
                  <c:v>41.906129032258079</c:v>
                </c:pt>
                <c:pt idx="2330">
                  <c:v>41.8325806451613</c:v>
                </c:pt>
                <c:pt idx="2331">
                  <c:v>41.759677419354851</c:v>
                </c:pt>
                <c:pt idx="2332">
                  <c:v>41.772258064516137</c:v>
                </c:pt>
                <c:pt idx="2333">
                  <c:v>41.843548387096781</c:v>
                </c:pt>
                <c:pt idx="2334">
                  <c:v>41.822903225806449</c:v>
                </c:pt>
                <c:pt idx="2335">
                  <c:v>41.938387096774193</c:v>
                </c:pt>
                <c:pt idx="2336">
                  <c:v>42.013225806451608</c:v>
                </c:pt>
                <c:pt idx="2337">
                  <c:v>42.108709677419348</c:v>
                </c:pt>
                <c:pt idx="2338">
                  <c:v>42.09225806451613</c:v>
                </c:pt>
                <c:pt idx="2339">
                  <c:v>42.103225806451604</c:v>
                </c:pt>
                <c:pt idx="2340">
                  <c:v>42.201612903225808</c:v>
                </c:pt>
                <c:pt idx="2341">
                  <c:v>42.205161290322586</c:v>
                </c:pt>
                <c:pt idx="2342">
                  <c:v>42.168709677419358</c:v>
                </c:pt>
                <c:pt idx="2343">
                  <c:v>42.16935483870968</c:v>
                </c:pt>
                <c:pt idx="2344">
                  <c:v>42.142903225806457</c:v>
                </c:pt>
                <c:pt idx="2345">
                  <c:v>42.063870967741941</c:v>
                </c:pt>
                <c:pt idx="2346">
                  <c:v>42.112580645161309</c:v>
                </c:pt>
                <c:pt idx="2347">
                  <c:v>42.045806451612911</c:v>
                </c:pt>
                <c:pt idx="2348">
                  <c:v>42.0741935483871</c:v>
                </c:pt>
                <c:pt idx="2349">
                  <c:v>42.115161290322582</c:v>
                </c:pt>
                <c:pt idx="2350">
                  <c:v>42.128064516129037</c:v>
                </c:pt>
                <c:pt idx="2351">
                  <c:v>42.18</c:v>
                </c:pt>
                <c:pt idx="2352">
                  <c:v>42.225483870967743</c:v>
                </c:pt>
                <c:pt idx="2353">
                  <c:v>42.199999999999996</c:v>
                </c:pt>
                <c:pt idx="2354">
                  <c:v>42.157096774193548</c:v>
                </c:pt>
                <c:pt idx="2355">
                  <c:v>42.237419354838714</c:v>
                </c:pt>
                <c:pt idx="2356">
                  <c:v>42.22870967741936</c:v>
                </c:pt>
                <c:pt idx="2357">
                  <c:v>42.22774193548387</c:v>
                </c:pt>
                <c:pt idx="2358">
                  <c:v>42.206451612903223</c:v>
                </c:pt>
                <c:pt idx="2359">
                  <c:v>42.22774193548387</c:v>
                </c:pt>
                <c:pt idx="2360">
                  <c:v>42.215806451612906</c:v>
                </c:pt>
                <c:pt idx="2361">
                  <c:v>42.279677419354833</c:v>
                </c:pt>
                <c:pt idx="2362">
                  <c:v>42.329677419354837</c:v>
                </c:pt>
                <c:pt idx="2363">
                  <c:v>42.325806451612898</c:v>
                </c:pt>
                <c:pt idx="2364">
                  <c:v>42.272903225806445</c:v>
                </c:pt>
                <c:pt idx="2365">
                  <c:v>42.254516129032254</c:v>
                </c:pt>
                <c:pt idx="2366">
                  <c:v>42.160322580645158</c:v>
                </c:pt>
                <c:pt idx="2367">
                  <c:v>42.075483870967737</c:v>
                </c:pt>
                <c:pt idx="2368">
                  <c:v>41.971612903225804</c:v>
                </c:pt>
                <c:pt idx="2369">
                  <c:v>42.022580645161284</c:v>
                </c:pt>
                <c:pt idx="2370">
                  <c:v>42.029354838709665</c:v>
                </c:pt>
                <c:pt idx="2371">
                  <c:v>41.983666666666664</c:v>
                </c:pt>
                <c:pt idx="2372">
                  <c:v>42.021379310344827</c:v>
                </c:pt>
                <c:pt idx="2373">
                  <c:v>42.034285714285708</c:v>
                </c:pt>
                <c:pt idx="2374">
                  <c:v>42.071851851851847</c:v>
                </c:pt>
                <c:pt idx="2375">
                  <c:v>42.059999999999988</c:v>
                </c:pt>
                <c:pt idx="2376">
                  <c:v>42.125599999999991</c:v>
                </c:pt>
                <c:pt idx="2377">
                  <c:v>42.089999999999996</c:v>
                </c:pt>
                <c:pt idx="2378">
                  <c:v>42.130869565217388</c:v>
                </c:pt>
                <c:pt idx="2379">
                  <c:v>42.109090909090909</c:v>
                </c:pt>
                <c:pt idx="2380">
                  <c:v>42.1447619047619</c:v>
                </c:pt>
                <c:pt idx="2381">
                  <c:v>42.128</c:v>
                </c:pt>
                <c:pt idx="2382">
                  <c:v>42.134736842105269</c:v>
                </c:pt>
                <c:pt idx="2383">
                  <c:v>42.034444444444453</c:v>
                </c:pt>
                <c:pt idx="2384">
                  <c:v>41.976470588235301</c:v>
                </c:pt>
                <c:pt idx="2385">
                  <c:v>42.008750000000006</c:v>
                </c:pt>
                <c:pt idx="2386">
                  <c:v>41.93333333333333</c:v>
                </c:pt>
                <c:pt idx="2387">
                  <c:v>41.999285714285712</c:v>
                </c:pt>
                <c:pt idx="2388">
                  <c:v>42.009230769230768</c:v>
                </c:pt>
                <c:pt idx="2389">
                  <c:v>42.052500000000002</c:v>
                </c:pt>
                <c:pt idx="2390">
                  <c:v>41.953636363636363</c:v>
                </c:pt>
                <c:pt idx="2391">
                  <c:v>41.943000000000005</c:v>
                </c:pt>
                <c:pt idx="2392">
                  <c:v>41.794444444444444</c:v>
                </c:pt>
                <c:pt idx="2393">
                  <c:v>41.701250000000002</c:v>
                </c:pt>
                <c:pt idx="2394">
                  <c:v>41.83</c:v>
                </c:pt>
                <c:pt idx="2395">
                  <c:v>41.994999999999997</c:v>
                </c:pt>
                <c:pt idx="2396">
                  <c:v>41.94</c:v>
                </c:pt>
                <c:pt idx="2397">
                  <c:v>42.237499999999997</c:v>
                </c:pt>
                <c:pt idx="2398">
                  <c:v>42.543333333333329</c:v>
                </c:pt>
                <c:pt idx="2399">
                  <c:v>43.55</c:v>
                </c:pt>
                <c:pt idx="2400">
                  <c:v>43.28</c:v>
                </c:pt>
              </c:numCache>
            </c:numRef>
          </c:val>
          <c:smooth val="0"/>
          <c:extLst>
            <c:ext xmlns:c16="http://schemas.microsoft.com/office/drawing/2014/chart" uri="{C3380CC4-5D6E-409C-BE32-E72D297353CC}">
              <c16:uniqueId val="{00000000-EF11-41BA-A05F-CFC3DD628D3D}"/>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D$2:$D$2454</c:f>
              <c:numCache>
                <c:formatCode>#,##0.00</c:formatCode>
                <c:ptCount val="2401"/>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20.468709677419358</c:v>
                </c:pt>
                <c:pt idx="2254">
                  <c:v>21.79451612903226</c:v>
                </c:pt>
                <c:pt idx="2255">
                  <c:v>23.162903225806453</c:v>
                </c:pt>
                <c:pt idx="2256">
                  <c:v>24.495161290322581</c:v>
                </c:pt>
                <c:pt idx="2257">
                  <c:v>25.825483870967744</c:v>
                </c:pt>
                <c:pt idx="2258">
                  <c:v>27.183548387096774</c:v>
                </c:pt>
                <c:pt idx="2259">
                  <c:v>28.497419354838712</c:v>
                </c:pt>
                <c:pt idx="2260">
                  <c:v>29.837741935483873</c:v>
                </c:pt>
                <c:pt idx="2261">
                  <c:v>31.203225806451616</c:v>
                </c:pt>
                <c:pt idx="2262">
                  <c:v>32.588387096774191</c:v>
                </c:pt>
                <c:pt idx="2263">
                  <c:v>33.889032258064518</c:v>
                </c:pt>
                <c:pt idx="2264">
                  <c:v>35.196774193548386</c:v>
                </c:pt>
                <c:pt idx="2265">
                  <c:v>36.489999999999995</c:v>
                </c:pt>
                <c:pt idx="2266">
                  <c:v>37.823225806451603</c:v>
                </c:pt>
                <c:pt idx="2267">
                  <c:v>39.203548387096767</c:v>
                </c:pt>
                <c:pt idx="2268">
                  <c:v>40.581935483870957</c:v>
                </c:pt>
                <c:pt idx="2269">
                  <c:v>41.951935483870962</c:v>
                </c:pt>
                <c:pt idx="2270">
                  <c:v>41.951612903225808</c:v>
                </c:pt>
                <c:pt idx="2271">
                  <c:v>41.89290322580645</c:v>
                </c:pt>
                <c:pt idx="2272">
                  <c:v>41.876129032258056</c:v>
                </c:pt>
                <c:pt idx="2273">
                  <c:v>41.894516129032262</c:v>
                </c:pt>
                <c:pt idx="2274">
                  <c:v>41.908709677419353</c:v>
                </c:pt>
                <c:pt idx="2275">
                  <c:v>42.003870967741932</c:v>
                </c:pt>
                <c:pt idx="2276">
                  <c:v>41.967419354838718</c:v>
                </c:pt>
                <c:pt idx="2277">
                  <c:v>42.052580645161292</c:v>
                </c:pt>
                <c:pt idx="2278">
                  <c:v>42.129354838709695</c:v>
                </c:pt>
                <c:pt idx="2279">
                  <c:v>42.15548387096775</c:v>
                </c:pt>
                <c:pt idx="2280">
                  <c:v>42.189354838709683</c:v>
                </c:pt>
                <c:pt idx="2281">
                  <c:v>42.170000000000009</c:v>
                </c:pt>
                <c:pt idx="2282">
                  <c:v>42.100645161290331</c:v>
                </c:pt>
                <c:pt idx="2283">
                  <c:v>42.013870967741944</c:v>
                </c:pt>
                <c:pt idx="2284">
                  <c:v>41.98612903225807</c:v>
                </c:pt>
                <c:pt idx="2285">
                  <c:v>41.981290322580648</c:v>
                </c:pt>
                <c:pt idx="2286">
                  <c:v>42.026129032258069</c:v>
                </c:pt>
                <c:pt idx="2287">
                  <c:v>41.989354838709687</c:v>
                </c:pt>
                <c:pt idx="2288">
                  <c:v>41.956129032258076</c:v>
                </c:pt>
                <c:pt idx="2289">
                  <c:v>41.952903225806459</c:v>
                </c:pt>
                <c:pt idx="2290">
                  <c:v>41.937741935483878</c:v>
                </c:pt>
                <c:pt idx="2291">
                  <c:v>41.981612903225809</c:v>
                </c:pt>
                <c:pt idx="2292">
                  <c:v>41.917741935483875</c:v>
                </c:pt>
                <c:pt idx="2293">
                  <c:v>41.862580645161287</c:v>
                </c:pt>
                <c:pt idx="2294">
                  <c:v>41.95870967741935</c:v>
                </c:pt>
                <c:pt idx="2295">
                  <c:v>41.994516129032263</c:v>
                </c:pt>
                <c:pt idx="2296">
                  <c:v>41.997419354838712</c:v>
                </c:pt>
                <c:pt idx="2297">
                  <c:v>42.006129032258059</c:v>
                </c:pt>
                <c:pt idx="2298">
                  <c:v>41.998387096774188</c:v>
                </c:pt>
                <c:pt idx="2299">
                  <c:v>42.006129032258059</c:v>
                </c:pt>
                <c:pt idx="2300">
                  <c:v>42.022903225806459</c:v>
                </c:pt>
                <c:pt idx="2301">
                  <c:v>42.030322580645155</c:v>
                </c:pt>
                <c:pt idx="2302">
                  <c:v>42.096129032258055</c:v>
                </c:pt>
                <c:pt idx="2303">
                  <c:v>42.15</c:v>
                </c:pt>
                <c:pt idx="2304">
                  <c:v>42.148064516129033</c:v>
                </c:pt>
                <c:pt idx="2305">
                  <c:v>42.07870967741934</c:v>
                </c:pt>
                <c:pt idx="2306">
                  <c:v>42.094838709677411</c:v>
                </c:pt>
                <c:pt idx="2307">
                  <c:v>42.062258064516122</c:v>
                </c:pt>
                <c:pt idx="2308">
                  <c:v>42.021612903225808</c:v>
                </c:pt>
                <c:pt idx="2309">
                  <c:v>41.910000000000004</c:v>
                </c:pt>
                <c:pt idx="2310">
                  <c:v>41.808064516129036</c:v>
                </c:pt>
                <c:pt idx="2311">
                  <c:v>41.784838709677423</c:v>
                </c:pt>
                <c:pt idx="2312">
                  <c:v>41.771290322580647</c:v>
                </c:pt>
                <c:pt idx="2313">
                  <c:v>41.729354838709682</c:v>
                </c:pt>
                <c:pt idx="2314">
                  <c:v>41.74</c:v>
                </c:pt>
                <c:pt idx="2315">
                  <c:v>41.762258064516132</c:v>
                </c:pt>
                <c:pt idx="2316">
                  <c:v>41.758709677419354</c:v>
                </c:pt>
                <c:pt idx="2317">
                  <c:v>41.756451612903227</c:v>
                </c:pt>
                <c:pt idx="2318">
                  <c:v>41.755806451612898</c:v>
                </c:pt>
                <c:pt idx="2319">
                  <c:v>41.848387096774182</c:v>
                </c:pt>
                <c:pt idx="2320">
                  <c:v>41.801612903225802</c:v>
                </c:pt>
                <c:pt idx="2321">
                  <c:v>41.814193548387095</c:v>
                </c:pt>
                <c:pt idx="2322">
                  <c:v>41.7541935483871</c:v>
                </c:pt>
                <c:pt idx="2323">
                  <c:v>41.846129032258062</c:v>
                </c:pt>
                <c:pt idx="2324">
                  <c:v>41.927096774193551</c:v>
                </c:pt>
                <c:pt idx="2325">
                  <c:v>41.90225806451614</c:v>
                </c:pt>
                <c:pt idx="2326">
                  <c:v>41.858387096774194</c:v>
                </c:pt>
                <c:pt idx="2327">
                  <c:v>41.857741935483872</c:v>
                </c:pt>
                <c:pt idx="2328">
                  <c:v>41.822903225806449</c:v>
                </c:pt>
                <c:pt idx="2329">
                  <c:v>41.789354838709677</c:v>
                </c:pt>
                <c:pt idx="2330">
                  <c:v>41.783870967741933</c:v>
                </c:pt>
                <c:pt idx="2331">
                  <c:v>41.7</c:v>
                </c:pt>
                <c:pt idx="2332">
                  <c:v>41.671612903225814</c:v>
                </c:pt>
                <c:pt idx="2333">
                  <c:v>41.643548387096779</c:v>
                </c:pt>
                <c:pt idx="2334">
                  <c:v>41.67032258064517</c:v>
                </c:pt>
                <c:pt idx="2335">
                  <c:v>41.623870967741944</c:v>
                </c:pt>
                <c:pt idx="2336">
                  <c:v>41.604193548387101</c:v>
                </c:pt>
                <c:pt idx="2337">
                  <c:v>41.564838709677417</c:v>
                </c:pt>
                <c:pt idx="2338">
                  <c:v>41.537419354838711</c:v>
                </c:pt>
                <c:pt idx="2339">
                  <c:v>41.557096774193539</c:v>
                </c:pt>
                <c:pt idx="2340">
                  <c:v>41.598387096774189</c:v>
                </c:pt>
                <c:pt idx="2341">
                  <c:v>41.629354838709666</c:v>
                </c:pt>
                <c:pt idx="2342">
                  <c:v>41.629999999999988</c:v>
                </c:pt>
                <c:pt idx="2343">
                  <c:v>41.621290322580641</c:v>
                </c:pt>
                <c:pt idx="2344">
                  <c:v>41.73</c:v>
                </c:pt>
                <c:pt idx="2345">
                  <c:v>41.733548387096775</c:v>
                </c:pt>
                <c:pt idx="2346">
                  <c:v>41.781935483870967</c:v>
                </c:pt>
                <c:pt idx="2347">
                  <c:v>41.851935483870967</c:v>
                </c:pt>
                <c:pt idx="2348">
                  <c:v>41.852258064516136</c:v>
                </c:pt>
                <c:pt idx="2349">
                  <c:v>41.906774193548401</c:v>
                </c:pt>
                <c:pt idx="2350">
                  <c:v>41.920967741935485</c:v>
                </c:pt>
                <c:pt idx="2351">
                  <c:v>41.967741935483872</c:v>
                </c:pt>
                <c:pt idx="2352">
                  <c:v>42.000322580645161</c:v>
                </c:pt>
                <c:pt idx="2353">
                  <c:v>42.028387096774203</c:v>
                </c:pt>
                <c:pt idx="2354">
                  <c:v>41.958709677419357</c:v>
                </c:pt>
                <c:pt idx="2355">
                  <c:v>41.862903225806456</c:v>
                </c:pt>
                <c:pt idx="2356">
                  <c:v>41.832903225806454</c:v>
                </c:pt>
                <c:pt idx="2357">
                  <c:v>41.855806451612906</c:v>
                </c:pt>
                <c:pt idx="2358">
                  <c:v>41.918064516129036</c:v>
                </c:pt>
                <c:pt idx="2359">
                  <c:v>42.004838709677415</c:v>
                </c:pt>
                <c:pt idx="2360">
                  <c:v>41.983870967741929</c:v>
                </c:pt>
                <c:pt idx="2361">
                  <c:v>41.965806451612899</c:v>
                </c:pt>
                <c:pt idx="2362">
                  <c:v>42.033225806451604</c:v>
                </c:pt>
                <c:pt idx="2363">
                  <c:v>42.035483870967731</c:v>
                </c:pt>
                <c:pt idx="2364">
                  <c:v>42.046129032258058</c:v>
                </c:pt>
                <c:pt idx="2365">
                  <c:v>42.035806451612899</c:v>
                </c:pt>
                <c:pt idx="2366">
                  <c:v>42.048387096774185</c:v>
                </c:pt>
                <c:pt idx="2367">
                  <c:v>42.108064516129026</c:v>
                </c:pt>
                <c:pt idx="2368">
                  <c:v>42.042258064516126</c:v>
                </c:pt>
                <c:pt idx="2369">
                  <c:v>42.10516129032257</c:v>
                </c:pt>
                <c:pt idx="2370">
                  <c:v>42.068064516129027</c:v>
                </c:pt>
                <c:pt idx="2371">
                  <c:v>42.087333333333326</c:v>
                </c:pt>
                <c:pt idx="2372">
                  <c:v>42.104482758620691</c:v>
                </c:pt>
                <c:pt idx="2373">
                  <c:v>42.132857142857141</c:v>
                </c:pt>
                <c:pt idx="2374">
                  <c:v>42.14222222222223</c:v>
                </c:pt>
                <c:pt idx="2375">
                  <c:v>42.081153846153853</c:v>
                </c:pt>
                <c:pt idx="2376">
                  <c:v>42.096000000000004</c:v>
                </c:pt>
                <c:pt idx="2377">
                  <c:v>42.090833333333343</c:v>
                </c:pt>
                <c:pt idx="2378">
                  <c:v>42.050869565217397</c:v>
                </c:pt>
                <c:pt idx="2379">
                  <c:v>41.973636363636366</c:v>
                </c:pt>
                <c:pt idx="2380">
                  <c:v>41.980476190476189</c:v>
                </c:pt>
                <c:pt idx="2381">
                  <c:v>41.903500000000008</c:v>
                </c:pt>
                <c:pt idx="2382">
                  <c:v>41.898421052631583</c:v>
                </c:pt>
                <c:pt idx="2383">
                  <c:v>41.911666666666669</c:v>
                </c:pt>
                <c:pt idx="2384">
                  <c:v>41.911176470588238</c:v>
                </c:pt>
                <c:pt idx="2385">
                  <c:v>41.965625000000003</c:v>
                </c:pt>
                <c:pt idx="2386">
                  <c:v>42.045333333333332</c:v>
                </c:pt>
                <c:pt idx="2387">
                  <c:v>42.07714285714286</c:v>
                </c:pt>
                <c:pt idx="2388">
                  <c:v>42.160000000000004</c:v>
                </c:pt>
                <c:pt idx="2389">
                  <c:v>42.165833333333332</c:v>
                </c:pt>
                <c:pt idx="2390">
                  <c:v>42.07090909090909</c:v>
                </c:pt>
                <c:pt idx="2391">
                  <c:v>42.191999999999993</c:v>
                </c:pt>
                <c:pt idx="2392">
                  <c:v>42.18666666666666</c:v>
                </c:pt>
                <c:pt idx="2393">
                  <c:v>42.15</c:v>
                </c:pt>
                <c:pt idx="2394">
                  <c:v>42.132857142857141</c:v>
                </c:pt>
                <c:pt idx="2395">
                  <c:v>42.101666666666667</c:v>
                </c:pt>
                <c:pt idx="2396">
                  <c:v>41.892000000000003</c:v>
                </c:pt>
                <c:pt idx="2397">
                  <c:v>41.962500000000006</c:v>
                </c:pt>
                <c:pt idx="2398">
                  <c:v>41.836666666666666</c:v>
                </c:pt>
                <c:pt idx="2399">
                  <c:v>42.414999999999999</c:v>
                </c:pt>
                <c:pt idx="2400">
                  <c:v>41.96</c:v>
                </c:pt>
              </c:numCache>
            </c:numRef>
          </c:val>
          <c:smooth val="0"/>
          <c:extLst>
            <c:ext xmlns:c16="http://schemas.microsoft.com/office/drawing/2014/chart" uri="{C3380CC4-5D6E-409C-BE32-E72D297353CC}">
              <c16:uniqueId val="{00000001-EF11-41BA-A05F-CFC3DD628D3D}"/>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E$2:$E$2454</c:f>
              <c:numCache>
                <c:formatCode>#,##0.00</c:formatCode>
                <c:ptCount val="2401"/>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43.677419354838712</c:v>
                </c:pt>
                <c:pt idx="2254">
                  <c:v>46.903225806451616</c:v>
                </c:pt>
                <c:pt idx="2255">
                  <c:v>49.903225806451616</c:v>
                </c:pt>
                <c:pt idx="2256">
                  <c:v>52.774193548387096</c:v>
                </c:pt>
                <c:pt idx="2257">
                  <c:v>55.645161290322584</c:v>
                </c:pt>
                <c:pt idx="2258">
                  <c:v>58.645161290322584</c:v>
                </c:pt>
                <c:pt idx="2259">
                  <c:v>61.741935483870968</c:v>
                </c:pt>
                <c:pt idx="2260">
                  <c:v>64.645161290322577</c:v>
                </c:pt>
                <c:pt idx="2261">
                  <c:v>67.451612903225808</c:v>
                </c:pt>
                <c:pt idx="2262">
                  <c:v>70.612903225806448</c:v>
                </c:pt>
                <c:pt idx="2263">
                  <c:v>73.741935483870961</c:v>
                </c:pt>
                <c:pt idx="2264">
                  <c:v>76.903225806451616</c:v>
                </c:pt>
                <c:pt idx="2265">
                  <c:v>80.129032258064512</c:v>
                </c:pt>
                <c:pt idx="2266">
                  <c:v>82.774193548387103</c:v>
                </c:pt>
                <c:pt idx="2267">
                  <c:v>85.870967741935488</c:v>
                </c:pt>
                <c:pt idx="2268">
                  <c:v>88.483870967741936</c:v>
                </c:pt>
                <c:pt idx="2269">
                  <c:v>91.58064516129032</c:v>
                </c:pt>
                <c:pt idx="2270">
                  <c:v>91.322580645161295</c:v>
                </c:pt>
                <c:pt idx="2271">
                  <c:v>91.258064516129039</c:v>
                </c:pt>
                <c:pt idx="2272">
                  <c:v>90.612903225806448</c:v>
                </c:pt>
                <c:pt idx="2273">
                  <c:v>90.677419354838705</c:v>
                </c:pt>
                <c:pt idx="2274">
                  <c:v>90.838709677419359</c:v>
                </c:pt>
                <c:pt idx="2275">
                  <c:v>90.967741935483872</c:v>
                </c:pt>
                <c:pt idx="2276">
                  <c:v>90.548387096774192</c:v>
                </c:pt>
                <c:pt idx="2277">
                  <c:v>91.129032258064512</c:v>
                </c:pt>
                <c:pt idx="2278">
                  <c:v>91.032258064516128</c:v>
                </c:pt>
                <c:pt idx="2279">
                  <c:v>91.193548387096769</c:v>
                </c:pt>
                <c:pt idx="2280">
                  <c:v>91.225806451612897</c:v>
                </c:pt>
                <c:pt idx="2281">
                  <c:v>91.129032258064512</c:v>
                </c:pt>
                <c:pt idx="2282">
                  <c:v>91.258064516129039</c:v>
                </c:pt>
                <c:pt idx="2283">
                  <c:v>91.032258064516128</c:v>
                </c:pt>
                <c:pt idx="2284">
                  <c:v>90.645161290322577</c:v>
                </c:pt>
                <c:pt idx="2285">
                  <c:v>90.032258064516128</c:v>
                </c:pt>
                <c:pt idx="2286">
                  <c:v>89.709677419354833</c:v>
                </c:pt>
                <c:pt idx="2287">
                  <c:v>89.741935483870961</c:v>
                </c:pt>
                <c:pt idx="2288">
                  <c:v>89.58064516129032</c:v>
                </c:pt>
                <c:pt idx="2289">
                  <c:v>89.193548387096769</c:v>
                </c:pt>
                <c:pt idx="2290">
                  <c:v>88.741935483870961</c:v>
                </c:pt>
                <c:pt idx="2291">
                  <c:v>88.677419354838705</c:v>
                </c:pt>
                <c:pt idx="2292">
                  <c:v>88.483870967741936</c:v>
                </c:pt>
                <c:pt idx="2293">
                  <c:v>88.193548387096769</c:v>
                </c:pt>
                <c:pt idx="2294">
                  <c:v>87.741935483870961</c:v>
                </c:pt>
                <c:pt idx="2295">
                  <c:v>87.483870967741936</c:v>
                </c:pt>
                <c:pt idx="2296">
                  <c:v>87.354838709677423</c:v>
                </c:pt>
                <c:pt idx="2297">
                  <c:v>87.58064516129032</c:v>
                </c:pt>
                <c:pt idx="2298">
                  <c:v>87.612903225806448</c:v>
                </c:pt>
                <c:pt idx="2299">
                  <c:v>88.032258064516128</c:v>
                </c:pt>
                <c:pt idx="2300">
                  <c:v>87.903225806451616</c:v>
                </c:pt>
                <c:pt idx="2301">
                  <c:v>87.806451612903231</c:v>
                </c:pt>
                <c:pt idx="2302">
                  <c:v>87.870967741935488</c:v>
                </c:pt>
                <c:pt idx="2303">
                  <c:v>88.387096774193552</c:v>
                </c:pt>
                <c:pt idx="2304">
                  <c:v>88.193548387096769</c:v>
                </c:pt>
                <c:pt idx="2305">
                  <c:v>88.193548387096769</c:v>
                </c:pt>
                <c:pt idx="2306">
                  <c:v>87.935483870967744</c:v>
                </c:pt>
                <c:pt idx="2307">
                  <c:v>88.290322580645167</c:v>
                </c:pt>
                <c:pt idx="2308">
                  <c:v>87.677419354838705</c:v>
                </c:pt>
                <c:pt idx="2309">
                  <c:v>88</c:v>
                </c:pt>
                <c:pt idx="2310">
                  <c:v>87.58064516129032</c:v>
                </c:pt>
                <c:pt idx="2311">
                  <c:v>87.483870967741936</c:v>
                </c:pt>
                <c:pt idx="2312">
                  <c:v>87.354838709677423</c:v>
                </c:pt>
                <c:pt idx="2313">
                  <c:v>87.41935483870968</c:v>
                </c:pt>
                <c:pt idx="2314">
                  <c:v>87.967741935483872</c:v>
                </c:pt>
                <c:pt idx="2315">
                  <c:v>88.096774193548384</c:v>
                </c:pt>
                <c:pt idx="2316">
                  <c:v>88.612903225806448</c:v>
                </c:pt>
                <c:pt idx="2317">
                  <c:v>88.677419354838705</c:v>
                </c:pt>
                <c:pt idx="2318">
                  <c:v>88.677419354838705</c:v>
                </c:pt>
                <c:pt idx="2319">
                  <c:v>89</c:v>
                </c:pt>
                <c:pt idx="2320">
                  <c:v>89.032258064516128</c:v>
                </c:pt>
                <c:pt idx="2321">
                  <c:v>89.58064516129032</c:v>
                </c:pt>
                <c:pt idx="2322">
                  <c:v>89.741935483870961</c:v>
                </c:pt>
                <c:pt idx="2323">
                  <c:v>90.322580645161295</c:v>
                </c:pt>
                <c:pt idx="2324">
                  <c:v>90.032258064516128</c:v>
                </c:pt>
                <c:pt idx="2325">
                  <c:v>89.967741935483872</c:v>
                </c:pt>
                <c:pt idx="2326">
                  <c:v>89.677419354838705</c:v>
                </c:pt>
                <c:pt idx="2327">
                  <c:v>89.322580645161295</c:v>
                </c:pt>
                <c:pt idx="2328">
                  <c:v>89.161290322580641</c:v>
                </c:pt>
                <c:pt idx="2329">
                  <c:v>89.032258064516128</c:v>
                </c:pt>
                <c:pt idx="2330">
                  <c:v>88.935483870967744</c:v>
                </c:pt>
                <c:pt idx="2331">
                  <c:v>88.645161290322577</c:v>
                </c:pt>
                <c:pt idx="2332">
                  <c:v>88.774193548387103</c:v>
                </c:pt>
                <c:pt idx="2333">
                  <c:v>89.032258064516128</c:v>
                </c:pt>
                <c:pt idx="2334">
                  <c:v>89.064516129032256</c:v>
                </c:pt>
                <c:pt idx="2335">
                  <c:v>89.225806451612897</c:v>
                </c:pt>
                <c:pt idx="2336">
                  <c:v>89.322580645161295</c:v>
                </c:pt>
                <c:pt idx="2337">
                  <c:v>89.129032258064512</c:v>
                </c:pt>
                <c:pt idx="2338">
                  <c:v>88.935483870967744</c:v>
                </c:pt>
                <c:pt idx="2339">
                  <c:v>89.129032258064512</c:v>
                </c:pt>
                <c:pt idx="2340">
                  <c:v>88.870967741935488</c:v>
                </c:pt>
                <c:pt idx="2341">
                  <c:v>88.935483870967744</c:v>
                </c:pt>
                <c:pt idx="2342">
                  <c:v>89.451612903225808</c:v>
                </c:pt>
                <c:pt idx="2343">
                  <c:v>89.387096774193552</c:v>
                </c:pt>
                <c:pt idx="2344">
                  <c:v>89.612903225806448</c:v>
                </c:pt>
                <c:pt idx="2345">
                  <c:v>89.58064516129032</c:v>
                </c:pt>
                <c:pt idx="2346">
                  <c:v>89.58064516129032</c:v>
                </c:pt>
                <c:pt idx="2347">
                  <c:v>89.41935483870968</c:v>
                </c:pt>
                <c:pt idx="2348">
                  <c:v>89.258064516129039</c:v>
                </c:pt>
                <c:pt idx="2349">
                  <c:v>89.58064516129032</c:v>
                </c:pt>
                <c:pt idx="2350">
                  <c:v>89.58064516129032</c:v>
                </c:pt>
                <c:pt idx="2351">
                  <c:v>89.838709677419359</c:v>
                </c:pt>
                <c:pt idx="2352">
                  <c:v>89.612903225806448</c:v>
                </c:pt>
                <c:pt idx="2353">
                  <c:v>89.225806451612897</c:v>
                </c:pt>
                <c:pt idx="2354">
                  <c:v>88.967741935483872</c:v>
                </c:pt>
                <c:pt idx="2355">
                  <c:v>89.451612903225808</c:v>
                </c:pt>
                <c:pt idx="2356">
                  <c:v>90.064516129032256</c:v>
                </c:pt>
                <c:pt idx="2357">
                  <c:v>90.483870967741936</c:v>
                </c:pt>
                <c:pt idx="2358">
                  <c:v>90.806451612903231</c:v>
                </c:pt>
                <c:pt idx="2359">
                  <c:v>90.741935483870961</c:v>
                </c:pt>
                <c:pt idx="2360">
                  <c:v>90.58064516129032</c:v>
                </c:pt>
                <c:pt idx="2361">
                  <c:v>90.387096774193552</c:v>
                </c:pt>
                <c:pt idx="2362">
                  <c:v>90.483870967741936</c:v>
                </c:pt>
                <c:pt idx="2363">
                  <c:v>90.741935483870961</c:v>
                </c:pt>
                <c:pt idx="2364">
                  <c:v>90.645161290322577</c:v>
                </c:pt>
                <c:pt idx="2365">
                  <c:v>90.516129032258064</c:v>
                </c:pt>
                <c:pt idx="2366">
                  <c:v>90.129032258064512</c:v>
                </c:pt>
                <c:pt idx="2367">
                  <c:v>90.225806451612897</c:v>
                </c:pt>
                <c:pt idx="2368">
                  <c:v>90.516129032258064</c:v>
                </c:pt>
                <c:pt idx="2369">
                  <c:v>90.516129032258064</c:v>
                </c:pt>
                <c:pt idx="2370">
                  <c:v>90.612903225806448</c:v>
                </c:pt>
                <c:pt idx="2371">
                  <c:v>90.7</c:v>
                </c:pt>
                <c:pt idx="2372">
                  <c:v>90.965517241379317</c:v>
                </c:pt>
                <c:pt idx="2373">
                  <c:v>90.785714285714292</c:v>
                </c:pt>
                <c:pt idx="2374">
                  <c:v>91.148148148148152</c:v>
                </c:pt>
                <c:pt idx="2375">
                  <c:v>91.07692307692308</c:v>
                </c:pt>
                <c:pt idx="2376">
                  <c:v>90.8</c:v>
                </c:pt>
                <c:pt idx="2377">
                  <c:v>91.083333333333329</c:v>
                </c:pt>
                <c:pt idx="2378">
                  <c:v>91.043478260869563</c:v>
                </c:pt>
                <c:pt idx="2379">
                  <c:v>91.545454545454547</c:v>
                </c:pt>
                <c:pt idx="2380">
                  <c:v>91.142857142857139</c:v>
                </c:pt>
                <c:pt idx="2381">
                  <c:v>91</c:v>
                </c:pt>
                <c:pt idx="2382">
                  <c:v>91.05263157894737</c:v>
                </c:pt>
                <c:pt idx="2383">
                  <c:v>91</c:v>
                </c:pt>
                <c:pt idx="2384">
                  <c:v>91.588235294117652</c:v>
                </c:pt>
                <c:pt idx="2385">
                  <c:v>91.625</c:v>
                </c:pt>
                <c:pt idx="2386">
                  <c:v>91.4</c:v>
                </c:pt>
                <c:pt idx="2387">
                  <c:v>90.785714285714292</c:v>
                </c:pt>
                <c:pt idx="2388">
                  <c:v>90.538461538461533</c:v>
                </c:pt>
                <c:pt idx="2389">
                  <c:v>90.166666666666671</c:v>
                </c:pt>
                <c:pt idx="2390">
                  <c:v>90.909090909090907</c:v>
                </c:pt>
                <c:pt idx="2391">
                  <c:v>91.2</c:v>
                </c:pt>
                <c:pt idx="2392">
                  <c:v>91.888888888888886</c:v>
                </c:pt>
                <c:pt idx="2393">
                  <c:v>92.625</c:v>
                </c:pt>
                <c:pt idx="2394">
                  <c:v>91.714285714285708</c:v>
                </c:pt>
                <c:pt idx="2395">
                  <c:v>91.333333333333329</c:v>
                </c:pt>
                <c:pt idx="2396">
                  <c:v>91</c:v>
                </c:pt>
                <c:pt idx="2397">
                  <c:v>92</c:v>
                </c:pt>
                <c:pt idx="2398">
                  <c:v>89.333333333333329</c:v>
                </c:pt>
                <c:pt idx="2399">
                  <c:v>89.5</c:v>
                </c:pt>
                <c:pt idx="2400">
                  <c:v>90</c:v>
                </c:pt>
              </c:numCache>
            </c:numRef>
          </c:val>
          <c:smooth val="0"/>
          <c:extLst>
            <c:ext xmlns:c16="http://schemas.microsoft.com/office/drawing/2014/chart" uri="{C3380CC4-5D6E-409C-BE32-E72D297353CC}">
              <c16:uniqueId val="{00000002-EF11-41BA-A05F-CFC3DD628D3D}"/>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F$2:$F$2454</c:f>
              <c:numCache>
                <c:formatCode>#,##0.00</c:formatCode>
                <c:ptCount val="2401"/>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96.451612903225808</c:v>
                </c:pt>
                <c:pt idx="2254">
                  <c:v>103.45161290322581</c:v>
                </c:pt>
                <c:pt idx="2255">
                  <c:v>109.61290322580645</c:v>
                </c:pt>
                <c:pt idx="2256">
                  <c:v>116.54838709677419</c:v>
                </c:pt>
                <c:pt idx="2257">
                  <c:v>123.41935483870968</c:v>
                </c:pt>
                <c:pt idx="2258">
                  <c:v>129.87096774193549</c:v>
                </c:pt>
                <c:pt idx="2259">
                  <c:v>136.2258064516129</c:v>
                </c:pt>
                <c:pt idx="2260">
                  <c:v>142.67741935483872</c:v>
                </c:pt>
                <c:pt idx="2261">
                  <c:v>148.61290322580646</c:v>
                </c:pt>
                <c:pt idx="2262">
                  <c:v>154.54838709677421</c:v>
                </c:pt>
                <c:pt idx="2263">
                  <c:v>160.80645161290323</c:v>
                </c:pt>
                <c:pt idx="2264">
                  <c:v>166.96774193548387</c:v>
                </c:pt>
                <c:pt idx="2265">
                  <c:v>174.06451612903226</c:v>
                </c:pt>
                <c:pt idx="2266">
                  <c:v>180.74193548387098</c:v>
                </c:pt>
                <c:pt idx="2267">
                  <c:v>187.64516129032259</c:v>
                </c:pt>
                <c:pt idx="2268">
                  <c:v>194.38709677419354</c:v>
                </c:pt>
                <c:pt idx="2269">
                  <c:v>200.48387096774192</c:v>
                </c:pt>
                <c:pt idx="2270">
                  <c:v>201.32258064516128</c:v>
                </c:pt>
                <c:pt idx="2271">
                  <c:v>202.25806451612902</c:v>
                </c:pt>
                <c:pt idx="2272">
                  <c:v>202.35483870967741</c:v>
                </c:pt>
                <c:pt idx="2273">
                  <c:v>201.7741935483871</c:v>
                </c:pt>
                <c:pt idx="2274">
                  <c:v>200.61290322580646</c:v>
                </c:pt>
                <c:pt idx="2275">
                  <c:v>200.74193548387098</c:v>
                </c:pt>
                <c:pt idx="2276">
                  <c:v>201.35483870967741</c:v>
                </c:pt>
                <c:pt idx="2277">
                  <c:v>201.32258064516128</c:v>
                </c:pt>
                <c:pt idx="2278">
                  <c:v>202</c:v>
                </c:pt>
                <c:pt idx="2279">
                  <c:v>201.12903225806451</c:v>
                </c:pt>
                <c:pt idx="2280">
                  <c:v>200.25806451612902</c:v>
                </c:pt>
                <c:pt idx="2281">
                  <c:v>199.87096774193549</c:v>
                </c:pt>
                <c:pt idx="2282">
                  <c:v>199.38709677419354</c:v>
                </c:pt>
                <c:pt idx="2283">
                  <c:v>199.54838709677421</c:v>
                </c:pt>
                <c:pt idx="2284">
                  <c:v>199.12903225806451</c:v>
                </c:pt>
                <c:pt idx="2285">
                  <c:v>198.09677419354838</c:v>
                </c:pt>
                <c:pt idx="2286">
                  <c:v>198.83870967741936</c:v>
                </c:pt>
                <c:pt idx="2287">
                  <c:v>198.87096774193549</c:v>
                </c:pt>
                <c:pt idx="2288">
                  <c:v>197.93548387096774</c:v>
                </c:pt>
                <c:pt idx="2289">
                  <c:v>197.29032258064515</c:v>
                </c:pt>
                <c:pt idx="2290">
                  <c:v>197.93548387096774</c:v>
                </c:pt>
                <c:pt idx="2291">
                  <c:v>197.64516129032259</c:v>
                </c:pt>
                <c:pt idx="2292">
                  <c:v>198.32258064516128</c:v>
                </c:pt>
                <c:pt idx="2293">
                  <c:v>199.29032258064515</c:v>
                </c:pt>
                <c:pt idx="2294">
                  <c:v>200.06451612903226</c:v>
                </c:pt>
                <c:pt idx="2295">
                  <c:v>199.90322580645162</c:v>
                </c:pt>
                <c:pt idx="2296">
                  <c:v>199.67741935483872</c:v>
                </c:pt>
                <c:pt idx="2297">
                  <c:v>199.16129032258064</c:v>
                </c:pt>
                <c:pt idx="2298">
                  <c:v>199.09677419354838</c:v>
                </c:pt>
                <c:pt idx="2299">
                  <c:v>198.87096774193549</c:v>
                </c:pt>
                <c:pt idx="2300">
                  <c:v>199.61290322580646</c:v>
                </c:pt>
                <c:pt idx="2301">
                  <c:v>198.54838709677421</c:v>
                </c:pt>
                <c:pt idx="2302">
                  <c:v>198.70967741935485</c:v>
                </c:pt>
                <c:pt idx="2303">
                  <c:v>198.06451612903226</c:v>
                </c:pt>
                <c:pt idx="2304">
                  <c:v>199.06451612903226</c:v>
                </c:pt>
                <c:pt idx="2305">
                  <c:v>200.03225806451613</c:v>
                </c:pt>
                <c:pt idx="2306">
                  <c:v>200.03225806451613</c:v>
                </c:pt>
                <c:pt idx="2307">
                  <c:v>200.03225806451613</c:v>
                </c:pt>
                <c:pt idx="2308">
                  <c:v>199.58064516129033</c:v>
                </c:pt>
                <c:pt idx="2309">
                  <c:v>199.64516129032259</c:v>
                </c:pt>
                <c:pt idx="2310">
                  <c:v>199.90322580645162</c:v>
                </c:pt>
                <c:pt idx="2311">
                  <c:v>199.83870967741936</c:v>
                </c:pt>
                <c:pt idx="2312">
                  <c:v>199.67741935483872</c:v>
                </c:pt>
                <c:pt idx="2313">
                  <c:v>200.64516129032259</c:v>
                </c:pt>
                <c:pt idx="2314">
                  <c:v>200.70967741935485</c:v>
                </c:pt>
                <c:pt idx="2315">
                  <c:v>200.70967741935485</c:v>
                </c:pt>
                <c:pt idx="2316">
                  <c:v>201.67741935483872</c:v>
                </c:pt>
                <c:pt idx="2317">
                  <c:v>201.35483870967741</c:v>
                </c:pt>
                <c:pt idx="2318">
                  <c:v>201.45161290322579</c:v>
                </c:pt>
                <c:pt idx="2319">
                  <c:v>201.67741935483872</c:v>
                </c:pt>
                <c:pt idx="2320">
                  <c:v>202.67741935483872</c:v>
                </c:pt>
                <c:pt idx="2321">
                  <c:v>201.64516129032259</c:v>
                </c:pt>
                <c:pt idx="2322">
                  <c:v>201.87096774193549</c:v>
                </c:pt>
                <c:pt idx="2323">
                  <c:v>201.96774193548387</c:v>
                </c:pt>
                <c:pt idx="2324">
                  <c:v>201.19354838709677</c:v>
                </c:pt>
                <c:pt idx="2325">
                  <c:v>201.03225806451613</c:v>
                </c:pt>
                <c:pt idx="2326">
                  <c:v>201.35483870967741</c:v>
                </c:pt>
                <c:pt idx="2327">
                  <c:v>200.41935483870967</c:v>
                </c:pt>
                <c:pt idx="2328">
                  <c:v>200.61290322580646</c:v>
                </c:pt>
                <c:pt idx="2329">
                  <c:v>200.61290322580646</c:v>
                </c:pt>
                <c:pt idx="2330">
                  <c:v>200.45161290322579</c:v>
                </c:pt>
                <c:pt idx="2331">
                  <c:v>200.06451612903226</c:v>
                </c:pt>
                <c:pt idx="2332">
                  <c:v>200.12903225806451</c:v>
                </c:pt>
                <c:pt idx="2333">
                  <c:v>199.70967741935485</c:v>
                </c:pt>
                <c:pt idx="2334">
                  <c:v>200.41935483870967</c:v>
                </c:pt>
                <c:pt idx="2335">
                  <c:v>200.2258064516129</c:v>
                </c:pt>
                <c:pt idx="2336">
                  <c:v>199.87096774193549</c:v>
                </c:pt>
                <c:pt idx="2337">
                  <c:v>199.83870967741936</c:v>
                </c:pt>
                <c:pt idx="2338">
                  <c:v>200</c:v>
                </c:pt>
                <c:pt idx="2339">
                  <c:v>200.03225806451613</c:v>
                </c:pt>
                <c:pt idx="2340">
                  <c:v>199.90322580645162</c:v>
                </c:pt>
                <c:pt idx="2341">
                  <c:v>199.87096774193549</c:v>
                </c:pt>
                <c:pt idx="2342">
                  <c:v>200.16129032258064</c:v>
                </c:pt>
                <c:pt idx="2343">
                  <c:v>200.58064516129033</c:v>
                </c:pt>
                <c:pt idx="2344">
                  <c:v>200.38709677419354</c:v>
                </c:pt>
                <c:pt idx="2345">
                  <c:v>200.96774193548387</c:v>
                </c:pt>
                <c:pt idx="2346">
                  <c:v>201.45161290322579</c:v>
                </c:pt>
                <c:pt idx="2347">
                  <c:v>201.35483870967741</c:v>
                </c:pt>
                <c:pt idx="2348">
                  <c:v>200.64516129032259</c:v>
                </c:pt>
                <c:pt idx="2349">
                  <c:v>199.90322580645162</c:v>
                </c:pt>
                <c:pt idx="2350">
                  <c:v>200.25806451612902</c:v>
                </c:pt>
                <c:pt idx="2351">
                  <c:v>200.12903225806451</c:v>
                </c:pt>
                <c:pt idx="2352">
                  <c:v>201.06451612903226</c:v>
                </c:pt>
                <c:pt idx="2353">
                  <c:v>201.19354838709677</c:v>
                </c:pt>
                <c:pt idx="2354">
                  <c:v>200.32258064516128</c:v>
                </c:pt>
                <c:pt idx="2355">
                  <c:v>201.29032258064515</c:v>
                </c:pt>
                <c:pt idx="2356">
                  <c:v>201.09677419354838</c:v>
                </c:pt>
                <c:pt idx="2357">
                  <c:v>201.19354838709677</c:v>
                </c:pt>
                <c:pt idx="2358">
                  <c:v>201.45161290322579</c:v>
                </c:pt>
                <c:pt idx="2359">
                  <c:v>201.45161290322579</c:v>
                </c:pt>
                <c:pt idx="2360">
                  <c:v>200.45161290322579</c:v>
                </c:pt>
                <c:pt idx="2361">
                  <c:v>200.03225806451613</c:v>
                </c:pt>
                <c:pt idx="2362">
                  <c:v>200.45161290322579</c:v>
                </c:pt>
                <c:pt idx="2363">
                  <c:v>201.51612903225808</c:v>
                </c:pt>
                <c:pt idx="2364">
                  <c:v>200.96774193548387</c:v>
                </c:pt>
                <c:pt idx="2365">
                  <c:v>200.93548387096774</c:v>
                </c:pt>
                <c:pt idx="2366">
                  <c:v>200.06451612903226</c:v>
                </c:pt>
                <c:pt idx="2367">
                  <c:v>200.38709677419354</c:v>
                </c:pt>
                <c:pt idx="2368">
                  <c:v>200.32258064516128</c:v>
                </c:pt>
                <c:pt idx="2369">
                  <c:v>199.2258064516129</c:v>
                </c:pt>
                <c:pt idx="2370">
                  <c:v>199.54838709677421</c:v>
                </c:pt>
                <c:pt idx="2371">
                  <c:v>199.2</c:v>
                </c:pt>
                <c:pt idx="2372">
                  <c:v>199.20689655172413</c:v>
                </c:pt>
                <c:pt idx="2373">
                  <c:v>199.46428571428572</c:v>
                </c:pt>
                <c:pt idx="2374">
                  <c:v>198.92592592592592</c:v>
                </c:pt>
                <c:pt idx="2375">
                  <c:v>198.46153846153845</c:v>
                </c:pt>
                <c:pt idx="2376">
                  <c:v>198.16</c:v>
                </c:pt>
                <c:pt idx="2377">
                  <c:v>197.75</c:v>
                </c:pt>
                <c:pt idx="2378">
                  <c:v>197.13043478260869</c:v>
                </c:pt>
                <c:pt idx="2379">
                  <c:v>197.81818181818181</c:v>
                </c:pt>
                <c:pt idx="2380">
                  <c:v>197.9047619047619</c:v>
                </c:pt>
                <c:pt idx="2381">
                  <c:v>197.7</c:v>
                </c:pt>
                <c:pt idx="2382">
                  <c:v>197.21052631578948</c:v>
                </c:pt>
                <c:pt idx="2383">
                  <c:v>196.27777777777777</c:v>
                </c:pt>
                <c:pt idx="2384">
                  <c:v>195.94117647058823</c:v>
                </c:pt>
                <c:pt idx="2385">
                  <c:v>196.875</c:v>
                </c:pt>
                <c:pt idx="2386">
                  <c:v>195.33333333333334</c:v>
                </c:pt>
                <c:pt idx="2387">
                  <c:v>194.5</c:v>
                </c:pt>
                <c:pt idx="2388">
                  <c:v>194.15384615384616</c:v>
                </c:pt>
                <c:pt idx="2389">
                  <c:v>194.33333333333334</c:v>
                </c:pt>
                <c:pt idx="2390">
                  <c:v>194.09090909090909</c:v>
                </c:pt>
                <c:pt idx="2391">
                  <c:v>195.4</c:v>
                </c:pt>
                <c:pt idx="2392">
                  <c:v>196.66666666666666</c:v>
                </c:pt>
                <c:pt idx="2393">
                  <c:v>194.625</c:v>
                </c:pt>
                <c:pt idx="2394">
                  <c:v>191.71428571428572</c:v>
                </c:pt>
                <c:pt idx="2395">
                  <c:v>193</c:v>
                </c:pt>
                <c:pt idx="2396">
                  <c:v>190</c:v>
                </c:pt>
                <c:pt idx="2397">
                  <c:v>191.75</c:v>
                </c:pt>
                <c:pt idx="2398">
                  <c:v>184.66666666666666</c:v>
                </c:pt>
                <c:pt idx="2399">
                  <c:v>186</c:v>
                </c:pt>
                <c:pt idx="2400">
                  <c:v>191</c:v>
                </c:pt>
              </c:numCache>
            </c:numRef>
          </c:val>
          <c:smooth val="0"/>
          <c:extLst>
            <c:ext xmlns:c16="http://schemas.microsoft.com/office/drawing/2014/chart" uri="{C3380CC4-5D6E-409C-BE32-E72D297353CC}">
              <c16:uniqueId val="{00000003-EF11-41BA-A05F-CFC3DD628D3D}"/>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G$2:$G$2454</c:f>
              <c:numCache>
                <c:formatCode>#,##0.00</c:formatCode>
                <c:ptCount val="2401"/>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23.870967741935484</c:v>
                </c:pt>
                <c:pt idx="2254">
                  <c:v>25.580645161290324</c:v>
                </c:pt>
                <c:pt idx="2255">
                  <c:v>27.35483870967742</c:v>
                </c:pt>
                <c:pt idx="2256">
                  <c:v>29</c:v>
                </c:pt>
                <c:pt idx="2257">
                  <c:v>30.741935483870968</c:v>
                </c:pt>
                <c:pt idx="2258">
                  <c:v>32.225806451612904</c:v>
                </c:pt>
                <c:pt idx="2259">
                  <c:v>33.87096774193548</c:v>
                </c:pt>
                <c:pt idx="2260">
                  <c:v>35.483870967741936</c:v>
                </c:pt>
                <c:pt idx="2261">
                  <c:v>37.064516129032256</c:v>
                </c:pt>
                <c:pt idx="2262">
                  <c:v>38.677419354838712</c:v>
                </c:pt>
                <c:pt idx="2263">
                  <c:v>40.29032258064516</c:v>
                </c:pt>
                <c:pt idx="2264">
                  <c:v>41.935483870967744</c:v>
                </c:pt>
                <c:pt idx="2265">
                  <c:v>43.677419354838712</c:v>
                </c:pt>
                <c:pt idx="2266">
                  <c:v>45.258064516129032</c:v>
                </c:pt>
                <c:pt idx="2267">
                  <c:v>46.903225806451616</c:v>
                </c:pt>
                <c:pt idx="2268">
                  <c:v>48.483870967741936</c:v>
                </c:pt>
                <c:pt idx="2269">
                  <c:v>50.064516129032256</c:v>
                </c:pt>
                <c:pt idx="2270">
                  <c:v>50.12903225806452</c:v>
                </c:pt>
                <c:pt idx="2271">
                  <c:v>50.41935483870968</c:v>
                </c:pt>
                <c:pt idx="2272">
                  <c:v>50.258064516129032</c:v>
                </c:pt>
                <c:pt idx="2273">
                  <c:v>50.548387096774192</c:v>
                </c:pt>
                <c:pt idx="2274">
                  <c:v>50.322580645161288</c:v>
                </c:pt>
                <c:pt idx="2275">
                  <c:v>50.12903225806452</c:v>
                </c:pt>
                <c:pt idx="2276">
                  <c:v>50.322580645161288</c:v>
                </c:pt>
                <c:pt idx="2277">
                  <c:v>50.451612903225808</c:v>
                </c:pt>
                <c:pt idx="2278">
                  <c:v>50.58064516129032</c:v>
                </c:pt>
                <c:pt idx="2279">
                  <c:v>50.516129032258064</c:v>
                </c:pt>
                <c:pt idx="2280">
                  <c:v>50.677419354838712</c:v>
                </c:pt>
                <c:pt idx="2281">
                  <c:v>50.483870967741936</c:v>
                </c:pt>
                <c:pt idx="2282">
                  <c:v>50.354838709677416</c:v>
                </c:pt>
                <c:pt idx="2283">
                  <c:v>50.548387096774192</c:v>
                </c:pt>
                <c:pt idx="2284">
                  <c:v>50.354838709677416</c:v>
                </c:pt>
                <c:pt idx="2285">
                  <c:v>50.096774193548384</c:v>
                </c:pt>
                <c:pt idx="2286">
                  <c:v>50.064516129032256</c:v>
                </c:pt>
                <c:pt idx="2287">
                  <c:v>50.032258064516128</c:v>
                </c:pt>
                <c:pt idx="2288">
                  <c:v>49.774193548387096</c:v>
                </c:pt>
                <c:pt idx="2289">
                  <c:v>50.032258064516128</c:v>
                </c:pt>
                <c:pt idx="2290">
                  <c:v>50.12903225806452</c:v>
                </c:pt>
                <c:pt idx="2291">
                  <c:v>50.258064516129032</c:v>
                </c:pt>
                <c:pt idx="2292">
                  <c:v>50.387096774193552</c:v>
                </c:pt>
                <c:pt idx="2293">
                  <c:v>50.451612903225808</c:v>
                </c:pt>
                <c:pt idx="2294">
                  <c:v>50.451612903225808</c:v>
                </c:pt>
                <c:pt idx="2295">
                  <c:v>50.354838709677416</c:v>
                </c:pt>
                <c:pt idx="2296">
                  <c:v>50.354838709677416</c:v>
                </c:pt>
                <c:pt idx="2297">
                  <c:v>50.41935483870968</c:v>
                </c:pt>
                <c:pt idx="2298">
                  <c:v>50.225806451612904</c:v>
                </c:pt>
                <c:pt idx="2299">
                  <c:v>50.322580645161288</c:v>
                </c:pt>
                <c:pt idx="2300">
                  <c:v>50.258064516129032</c:v>
                </c:pt>
                <c:pt idx="2301">
                  <c:v>50.225806451612904</c:v>
                </c:pt>
                <c:pt idx="2302">
                  <c:v>50.225806451612904</c:v>
                </c:pt>
                <c:pt idx="2303">
                  <c:v>50.354838709677416</c:v>
                </c:pt>
                <c:pt idx="2304">
                  <c:v>50.29032258064516</c:v>
                </c:pt>
                <c:pt idx="2305">
                  <c:v>50.258064516129032</c:v>
                </c:pt>
                <c:pt idx="2306">
                  <c:v>50.451612903225808</c:v>
                </c:pt>
                <c:pt idx="2307">
                  <c:v>50.193548387096776</c:v>
                </c:pt>
                <c:pt idx="2308">
                  <c:v>50.032258064516128</c:v>
                </c:pt>
                <c:pt idx="2309">
                  <c:v>49.903225806451616</c:v>
                </c:pt>
                <c:pt idx="2310">
                  <c:v>49.741935483870968</c:v>
                </c:pt>
                <c:pt idx="2311">
                  <c:v>49.516129032258064</c:v>
                </c:pt>
                <c:pt idx="2312">
                  <c:v>49.516129032258064</c:v>
                </c:pt>
                <c:pt idx="2313">
                  <c:v>49.483870967741936</c:v>
                </c:pt>
                <c:pt idx="2314">
                  <c:v>49.41935483870968</c:v>
                </c:pt>
                <c:pt idx="2315">
                  <c:v>49.58064516129032</c:v>
                </c:pt>
                <c:pt idx="2316">
                  <c:v>49.741935483870968</c:v>
                </c:pt>
                <c:pt idx="2317">
                  <c:v>49.70967741935484</c:v>
                </c:pt>
                <c:pt idx="2318">
                  <c:v>49.741935483870968</c:v>
                </c:pt>
                <c:pt idx="2319">
                  <c:v>49.806451612903224</c:v>
                </c:pt>
                <c:pt idx="2320">
                  <c:v>49.58064516129032</c:v>
                </c:pt>
                <c:pt idx="2321">
                  <c:v>49.322580645161288</c:v>
                </c:pt>
                <c:pt idx="2322">
                  <c:v>49.161290322580648</c:v>
                </c:pt>
                <c:pt idx="2323">
                  <c:v>49.096774193548384</c:v>
                </c:pt>
                <c:pt idx="2324">
                  <c:v>49.064516129032256</c:v>
                </c:pt>
                <c:pt idx="2325">
                  <c:v>49.193548387096776</c:v>
                </c:pt>
                <c:pt idx="2326">
                  <c:v>49.12903225806452</c:v>
                </c:pt>
                <c:pt idx="2327">
                  <c:v>49.032258064516128</c:v>
                </c:pt>
                <c:pt idx="2328">
                  <c:v>48.903225806451616</c:v>
                </c:pt>
                <c:pt idx="2329">
                  <c:v>49.193548387096776</c:v>
                </c:pt>
                <c:pt idx="2330">
                  <c:v>49.258064516129032</c:v>
                </c:pt>
                <c:pt idx="2331">
                  <c:v>49.451612903225808</c:v>
                </c:pt>
                <c:pt idx="2332">
                  <c:v>49.645161290322584</c:v>
                </c:pt>
                <c:pt idx="2333">
                  <c:v>49.58064516129032</c:v>
                </c:pt>
                <c:pt idx="2334">
                  <c:v>49.516129032258064</c:v>
                </c:pt>
                <c:pt idx="2335">
                  <c:v>49.451612903225808</c:v>
                </c:pt>
                <c:pt idx="2336">
                  <c:v>49.41935483870968</c:v>
                </c:pt>
                <c:pt idx="2337">
                  <c:v>49.451612903225808</c:v>
                </c:pt>
                <c:pt idx="2338">
                  <c:v>49.387096774193552</c:v>
                </c:pt>
                <c:pt idx="2339">
                  <c:v>49.516129032258064</c:v>
                </c:pt>
                <c:pt idx="2340">
                  <c:v>49.70967741935484</c:v>
                </c:pt>
                <c:pt idx="2341">
                  <c:v>49.935483870967744</c:v>
                </c:pt>
                <c:pt idx="2342">
                  <c:v>50.064516129032256</c:v>
                </c:pt>
                <c:pt idx="2343">
                  <c:v>50.064516129032256</c:v>
                </c:pt>
                <c:pt idx="2344">
                  <c:v>50.064516129032256</c:v>
                </c:pt>
                <c:pt idx="2345">
                  <c:v>50.064516129032256</c:v>
                </c:pt>
                <c:pt idx="2346">
                  <c:v>50.032258064516128</c:v>
                </c:pt>
                <c:pt idx="2347">
                  <c:v>49.935483870967744</c:v>
                </c:pt>
                <c:pt idx="2348">
                  <c:v>49.935483870967744</c:v>
                </c:pt>
                <c:pt idx="2349">
                  <c:v>50</c:v>
                </c:pt>
                <c:pt idx="2350">
                  <c:v>50.193548387096776</c:v>
                </c:pt>
                <c:pt idx="2351">
                  <c:v>50.451612903225808</c:v>
                </c:pt>
                <c:pt idx="2352">
                  <c:v>50.548387096774192</c:v>
                </c:pt>
                <c:pt idx="2353">
                  <c:v>50.451612903225808</c:v>
                </c:pt>
                <c:pt idx="2354">
                  <c:v>50.29032258064516</c:v>
                </c:pt>
                <c:pt idx="2355">
                  <c:v>50.161290322580648</c:v>
                </c:pt>
                <c:pt idx="2356">
                  <c:v>49.87096774193548</c:v>
                </c:pt>
                <c:pt idx="2357">
                  <c:v>50</c:v>
                </c:pt>
                <c:pt idx="2358">
                  <c:v>49.87096774193548</c:v>
                </c:pt>
                <c:pt idx="2359">
                  <c:v>50</c:v>
                </c:pt>
                <c:pt idx="2360">
                  <c:v>49.70967741935484</c:v>
                </c:pt>
                <c:pt idx="2361">
                  <c:v>49.41935483870968</c:v>
                </c:pt>
                <c:pt idx="2362">
                  <c:v>49.354838709677416</c:v>
                </c:pt>
                <c:pt idx="2363">
                  <c:v>49.12903225806452</c:v>
                </c:pt>
                <c:pt idx="2364">
                  <c:v>49.032258064516128</c:v>
                </c:pt>
                <c:pt idx="2365">
                  <c:v>49</c:v>
                </c:pt>
                <c:pt idx="2366">
                  <c:v>48.903225806451616</c:v>
                </c:pt>
                <c:pt idx="2367">
                  <c:v>48.967741935483872</c:v>
                </c:pt>
                <c:pt idx="2368">
                  <c:v>48.838709677419352</c:v>
                </c:pt>
                <c:pt idx="2369">
                  <c:v>48.967741935483872</c:v>
                </c:pt>
                <c:pt idx="2370">
                  <c:v>49.12903225806452</c:v>
                </c:pt>
                <c:pt idx="2371">
                  <c:v>49.06666666666667</c:v>
                </c:pt>
                <c:pt idx="2372">
                  <c:v>48.931034482758619</c:v>
                </c:pt>
                <c:pt idx="2373">
                  <c:v>48.892857142857146</c:v>
                </c:pt>
                <c:pt idx="2374">
                  <c:v>49.037037037037038</c:v>
                </c:pt>
                <c:pt idx="2375">
                  <c:v>49.153846153846153</c:v>
                </c:pt>
                <c:pt idx="2376">
                  <c:v>49.12</c:v>
                </c:pt>
                <c:pt idx="2377">
                  <c:v>49</c:v>
                </c:pt>
                <c:pt idx="2378">
                  <c:v>49.086956521739133</c:v>
                </c:pt>
                <c:pt idx="2379">
                  <c:v>48.909090909090907</c:v>
                </c:pt>
                <c:pt idx="2380">
                  <c:v>48.714285714285715</c:v>
                </c:pt>
                <c:pt idx="2381">
                  <c:v>48.45</c:v>
                </c:pt>
                <c:pt idx="2382">
                  <c:v>48.10526315789474</c:v>
                </c:pt>
                <c:pt idx="2383">
                  <c:v>48.055555555555557</c:v>
                </c:pt>
                <c:pt idx="2384">
                  <c:v>48.176470588235297</c:v>
                </c:pt>
                <c:pt idx="2385">
                  <c:v>48.3125</c:v>
                </c:pt>
                <c:pt idx="2386">
                  <c:v>48.4</c:v>
                </c:pt>
                <c:pt idx="2387">
                  <c:v>48.642857142857146</c:v>
                </c:pt>
                <c:pt idx="2388">
                  <c:v>48.53846153846154</c:v>
                </c:pt>
                <c:pt idx="2389">
                  <c:v>48.666666666666664</c:v>
                </c:pt>
                <c:pt idx="2390">
                  <c:v>48.454545454545453</c:v>
                </c:pt>
                <c:pt idx="2391">
                  <c:v>48.8</c:v>
                </c:pt>
                <c:pt idx="2392">
                  <c:v>49.222222222222221</c:v>
                </c:pt>
                <c:pt idx="2393">
                  <c:v>49</c:v>
                </c:pt>
                <c:pt idx="2394">
                  <c:v>49.285714285714285</c:v>
                </c:pt>
                <c:pt idx="2395">
                  <c:v>49.333333333333336</c:v>
                </c:pt>
                <c:pt idx="2396">
                  <c:v>50</c:v>
                </c:pt>
                <c:pt idx="2397">
                  <c:v>50.5</c:v>
                </c:pt>
                <c:pt idx="2398">
                  <c:v>51.333333333333336</c:v>
                </c:pt>
                <c:pt idx="2399">
                  <c:v>51.5</c:v>
                </c:pt>
                <c:pt idx="2400">
                  <c:v>54</c:v>
                </c:pt>
              </c:numCache>
            </c:numRef>
          </c:val>
          <c:smooth val="0"/>
          <c:extLst>
            <c:ext xmlns:c16="http://schemas.microsoft.com/office/drawing/2014/chart" uri="{C3380CC4-5D6E-409C-BE32-E72D297353CC}">
              <c16:uniqueId val="{00000004-EF11-41BA-A05F-CFC3DD628D3D}"/>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I$2:$I$2454</c:f>
              <c:numCache>
                <c:formatCode>#,##0.00</c:formatCode>
                <c:ptCount val="2401"/>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37.215835777126102</c:v>
                </c:pt>
                <c:pt idx="2254">
                  <c:v>39.626392961876839</c:v>
                </c:pt>
                <c:pt idx="2255">
                  <c:v>42.114369501466278</c:v>
                </c:pt>
                <c:pt idx="2256">
                  <c:v>44.536656891495603</c:v>
                </c:pt>
                <c:pt idx="2257">
                  <c:v>46.955425219941354</c:v>
                </c:pt>
                <c:pt idx="2258">
                  <c:v>49.424633431085049</c:v>
                </c:pt>
                <c:pt idx="2259">
                  <c:v>51.81348973607038</c:v>
                </c:pt>
                <c:pt idx="2260">
                  <c:v>54.250439882697947</c:v>
                </c:pt>
                <c:pt idx="2261">
                  <c:v>56.733137829912025</c:v>
                </c:pt>
                <c:pt idx="2262">
                  <c:v>59.251612903225805</c:v>
                </c:pt>
                <c:pt idx="2263">
                  <c:v>61.616422287390023</c:v>
                </c:pt>
                <c:pt idx="2264">
                  <c:v>63.994134897360702</c:v>
                </c:pt>
                <c:pt idx="2265">
                  <c:v>66.345454545454544</c:v>
                </c:pt>
                <c:pt idx="2266">
                  <c:v>68.769501466275656</c:v>
                </c:pt>
                <c:pt idx="2267">
                  <c:v>71.2791788856305</c:v>
                </c:pt>
                <c:pt idx="2268">
                  <c:v>73.785337243401756</c:v>
                </c:pt>
                <c:pt idx="2269">
                  <c:v>76.276246334310841</c:v>
                </c:pt>
                <c:pt idx="2270">
                  <c:v>76.275659824046926</c:v>
                </c:pt>
                <c:pt idx="2271">
                  <c:v>76.168914956011704</c:v>
                </c:pt>
                <c:pt idx="2272">
                  <c:v>76.138416422287378</c:v>
                </c:pt>
                <c:pt idx="2273">
                  <c:v>76.171847507331364</c:v>
                </c:pt>
                <c:pt idx="2274">
                  <c:v>76.197653958944258</c:v>
                </c:pt>
                <c:pt idx="2275">
                  <c:v>76.370674486803523</c:v>
                </c:pt>
                <c:pt idx="2276">
                  <c:v>76.30439882697948</c:v>
                </c:pt>
                <c:pt idx="2277">
                  <c:v>76.4592375366569</c:v>
                </c:pt>
                <c:pt idx="2278">
                  <c:v>76.59882697947215</c:v>
                </c:pt>
                <c:pt idx="2279">
                  <c:v>76.646334310850449</c:v>
                </c:pt>
                <c:pt idx="2280">
                  <c:v>76.70791788856306</c:v>
                </c:pt>
                <c:pt idx="2281">
                  <c:v>76.672727272727286</c:v>
                </c:pt>
                <c:pt idx="2282">
                  <c:v>76.546627565982419</c:v>
                </c:pt>
                <c:pt idx="2283">
                  <c:v>76.388856304985353</c:v>
                </c:pt>
                <c:pt idx="2284">
                  <c:v>76.338416422287409</c:v>
                </c:pt>
                <c:pt idx="2285">
                  <c:v>76.329618768328473</c:v>
                </c:pt>
                <c:pt idx="2286">
                  <c:v>76.411143695014673</c:v>
                </c:pt>
                <c:pt idx="2287">
                  <c:v>76.344281524926714</c:v>
                </c:pt>
                <c:pt idx="2288">
                  <c:v>76.283870967741933</c:v>
                </c:pt>
                <c:pt idx="2289">
                  <c:v>76.278005865102642</c:v>
                </c:pt>
                <c:pt idx="2290">
                  <c:v>76.250439882697933</c:v>
                </c:pt>
                <c:pt idx="2291">
                  <c:v>76.330205278592388</c:v>
                </c:pt>
                <c:pt idx="2292">
                  <c:v>76.214076246334315</c:v>
                </c:pt>
                <c:pt idx="2293">
                  <c:v>76.113782991202342</c:v>
                </c:pt>
                <c:pt idx="2294">
                  <c:v>76.28856304985338</c:v>
                </c:pt>
                <c:pt idx="2295">
                  <c:v>76.353665689149551</c:v>
                </c:pt>
                <c:pt idx="2296">
                  <c:v>76.358944281524913</c:v>
                </c:pt>
                <c:pt idx="2297">
                  <c:v>76.374780058651012</c:v>
                </c:pt>
                <c:pt idx="2298">
                  <c:v>76.3607038123167</c:v>
                </c:pt>
                <c:pt idx="2299">
                  <c:v>76.374780058651027</c:v>
                </c:pt>
                <c:pt idx="2300">
                  <c:v>76.405278592375353</c:v>
                </c:pt>
                <c:pt idx="2301">
                  <c:v>76.418768328445736</c:v>
                </c:pt>
                <c:pt idx="2302">
                  <c:v>76.538416422287384</c:v>
                </c:pt>
                <c:pt idx="2303">
                  <c:v>76.636363636363626</c:v>
                </c:pt>
                <c:pt idx="2304">
                  <c:v>76.632844574780052</c:v>
                </c:pt>
                <c:pt idx="2305">
                  <c:v>76.50674486803517</c:v>
                </c:pt>
                <c:pt idx="2306">
                  <c:v>76.536070381231667</c:v>
                </c:pt>
                <c:pt idx="2307">
                  <c:v>76.476832844574773</c:v>
                </c:pt>
                <c:pt idx="2308">
                  <c:v>76.402932551319651</c:v>
                </c:pt>
                <c:pt idx="2309">
                  <c:v>76.2</c:v>
                </c:pt>
                <c:pt idx="2310">
                  <c:v>76.014662756598241</c:v>
                </c:pt>
                <c:pt idx="2311">
                  <c:v>75.972434017595319</c:v>
                </c:pt>
                <c:pt idx="2312">
                  <c:v>75.947800586510269</c:v>
                </c:pt>
                <c:pt idx="2313">
                  <c:v>75.871554252199431</c:v>
                </c:pt>
                <c:pt idx="2314">
                  <c:v>75.890909090909091</c:v>
                </c:pt>
                <c:pt idx="2315">
                  <c:v>75.931378299120226</c:v>
                </c:pt>
                <c:pt idx="2316">
                  <c:v>75.92492668621702</c:v>
                </c:pt>
                <c:pt idx="2317">
                  <c:v>75.920821114369502</c:v>
                </c:pt>
                <c:pt idx="2318">
                  <c:v>75.919648093841644</c:v>
                </c:pt>
                <c:pt idx="2319">
                  <c:v>76.087976539589462</c:v>
                </c:pt>
                <c:pt idx="2320">
                  <c:v>76.002932551319645</c:v>
                </c:pt>
                <c:pt idx="2321">
                  <c:v>76.025806451612908</c:v>
                </c:pt>
                <c:pt idx="2322">
                  <c:v>75.916715542521985</c:v>
                </c:pt>
                <c:pt idx="2323">
                  <c:v>76.08387096774193</c:v>
                </c:pt>
                <c:pt idx="2324">
                  <c:v>76.231085043988244</c:v>
                </c:pt>
                <c:pt idx="2325">
                  <c:v>76.185923753665676</c:v>
                </c:pt>
                <c:pt idx="2326">
                  <c:v>76.10615835777125</c:v>
                </c:pt>
                <c:pt idx="2327">
                  <c:v>76.10498533724342</c:v>
                </c:pt>
                <c:pt idx="2328">
                  <c:v>76.041642228739008</c:v>
                </c:pt>
                <c:pt idx="2329">
                  <c:v>75.980645161290312</c:v>
                </c:pt>
                <c:pt idx="2330">
                  <c:v>75.970674486803517</c:v>
                </c:pt>
                <c:pt idx="2331">
                  <c:v>75.818181818181827</c:v>
                </c:pt>
                <c:pt idx="2332">
                  <c:v>75.766568914956025</c:v>
                </c:pt>
                <c:pt idx="2333">
                  <c:v>75.715542521994138</c:v>
                </c:pt>
                <c:pt idx="2334">
                  <c:v>75.764222873900295</c:v>
                </c:pt>
                <c:pt idx="2335">
                  <c:v>75.679765395894421</c:v>
                </c:pt>
                <c:pt idx="2336">
                  <c:v>75.643988269794718</c:v>
                </c:pt>
                <c:pt idx="2337">
                  <c:v>75.572434017595299</c:v>
                </c:pt>
                <c:pt idx="2338">
                  <c:v>75.522580645161284</c:v>
                </c:pt>
                <c:pt idx="2339">
                  <c:v>75.558357771261001</c:v>
                </c:pt>
                <c:pt idx="2340">
                  <c:v>75.633431085043981</c:v>
                </c:pt>
                <c:pt idx="2341">
                  <c:v>75.68973607038123</c:v>
                </c:pt>
                <c:pt idx="2342">
                  <c:v>75.690909090909074</c:v>
                </c:pt>
                <c:pt idx="2343">
                  <c:v>75.675073313782974</c:v>
                </c:pt>
                <c:pt idx="2344">
                  <c:v>75.872727272727289</c:v>
                </c:pt>
                <c:pt idx="2345">
                  <c:v>75.879178885630509</c:v>
                </c:pt>
                <c:pt idx="2346">
                  <c:v>75.967155425219943</c:v>
                </c:pt>
                <c:pt idx="2347">
                  <c:v>76.094428152492668</c:v>
                </c:pt>
                <c:pt idx="2348">
                  <c:v>76.095014662756611</c:v>
                </c:pt>
                <c:pt idx="2349">
                  <c:v>76.194134897360712</c:v>
                </c:pt>
                <c:pt idx="2350">
                  <c:v>76.219941348973592</c:v>
                </c:pt>
                <c:pt idx="2351">
                  <c:v>76.304985337243423</c:v>
                </c:pt>
                <c:pt idx="2352">
                  <c:v>76.364222873900303</c:v>
                </c:pt>
                <c:pt idx="2353">
                  <c:v>76.415249266862162</c:v>
                </c:pt>
                <c:pt idx="2354">
                  <c:v>76.288563049853366</c:v>
                </c:pt>
                <c:pt idx="2355">
                  <c:v>76.114369501466257</c:v>
                </c:pt>
                <c:pt idx="2356">
                  <c:v>76.059824046920795</c:v>
                </c:pt>
                <c:pt idx="2357">
                  <c:v>76.101466275659803</c:v>
                </c:pt>
                <c:pt idx="2358">
                  <c:v>76.214662756598216</c:v>
                </c:pt>
                <c:pt idx="2359">
                  <c:v>76.372434017595296</c:v>
                </c:pt>
                <c:pt idx="2360">
                  <c:v>76.334310850439877</c:v>
                </c:pt>
                <c:pt idx="2361">
                  <c:v>76.301466275659848</c:v>
                </c:pt>
                <c:pt idx="2362">
                  <c:v>76.424046920821127</c:v>
                </c:pt>
                <c:pt idx="2363">
                  <c:v>76.42815249266863</c:v>
                </c:pt>
                <c:pt idx="2364">
                  <c:v>76.447507331378304</c:v>
                </c:pt>
                <c:pt idx="2365">
                  <c:v>76.428739002932545</c:v>
                </c:pt>
                <c:pt idx="2366">
                  <c:v>76.451612903225808</c:v>
                </c:pt>
                <c:pt idx="2367">
                  <c:v>76.560117302052774</c:v>
                </c:pt>
                <c:pt idx="2368">
                  <c:v>76.440469208211127</c:v>
                </c:pt>
                <c:pt idx="2369">
                  <c:v>76.554838709677398</c:v>
                </c:pt>
                <c:pt idx="2370">
                  <c:v>76.487390029325525</c:v>
                </c:pt>
                <c:pt idx="2371">
                  <c:v>76.52242424242425</c:v>
                </c:pt>
                <c:pt idx="2372">
                  <c:v>76.55360501567398</c:v>
                </c:pt>
                <c:pt idx="2373">
                  <c:v>76.605194805194813</c:v>
                </c:pt>
                <c:pt idx="2374">
                  <c:v>76.622222222222234</c:v>
                </c:pt>
                <c:pt idx="2375">
                  <c:v>76.511188811188816</c:v>
                </c:pt>
                <c:pt idx="2376">
                  <c:v>76.538181818181826</c:v>
                </c:pt>
                <c:pt idx="2377">
                  <c:v>76.528787878787881</c:v>
                </c:pt>
                <c:pt idx="2378">
                  <c:v>76.456126482213435</c:v>
                </c:pt>
                <c:pt idx="2379">
                  <c:v>76.315702479338839</c:v>
                </c:pt>
                <c:pt idx="2380">
                  <c:v>76.328138528138538</c:v>
                </c:pt>
                <c:pt idx="2381">
                  <c:v>76.188181818181818</c:v>
                </c:pt>
                <c:pt idx="2382">
                  <c:v>76.178947368421063</c:v>
                </c:pt>
                <c:pt idx="2383">
                  <c:v>76.203030303030303</c:v>
                </c:pt>
                <c:pt idx="2384">
                  <c:v>76.202139037433156</c:v>
                </c:pt>
                <c:pt idx="2385">
                  <c:v>76.301136363636374</c:v>
                </c:pt>
                <c:pt idx="2386">
                  <c:v>76.446060606060612</c:v>
                </c:pt>
                <c:pt idx="2387">
                  <c:v>76.503896103896096</c:v>
                </c:pt>
                <c:pt idx="2388">
                  <c:v>76.654545454545456</c:v>
                </c:pt>
                <c:pt idx="2389">
                  <c:v>76.665151515151521</c:v>
                </c:pt>
                <c:pt idx="2390">
                  <c:v>76.492561983471063</c:v>
                </c:pt>
                <c:pt idx="2391">
                  <c:v>76.712727272727264</c:v>
                </c:pt>
                <c:pt idx="2392">
                  <c:v>76.703030303030289</c:v>
                </c:pt>
                <c:pt idx="2393">
                  <c:v>76.636363636363626</c:v>
                </c:pt>
                <c:pt idx="2394">
                  <c:v>76.605194805194813</c:v>
                </c:pt>
                <c:pt idx="2395">
                  <c:v>76.548484848484861</c:v>
                </c:pt>
                <c:pt idx="2396">
                  <c:v>76.167272727272717</c:v>
                </c:pt>
                <c:pt idx="2397">
                  <c:v>76.295454545454533</c:v>
                </c:pt>
                <c:pt idx="2398">
                  <c:v>76.066666666666663</c:v>
                </c:pt>
                <c:pt idx="2399">
                  <c:v>77.11818181818181</c:v>
                </c:pt>
                <c:pt idx="2400">
                  <c:v>76.290909090909082</c:v>
                </c:pt>
              </c:numCache>
            </c:numRef>
          </c:val>
          <c:smooth val="0"/>
          <c:extLst>
            <c:ext xmlns:c16="http://schemas.microsoft.com/office/drawing/2014/chart" uri="{C3380CC4-5D6E-409C-BE32-E72D297353CC}">
              <c16:uniqueId val="{00000005-EF11-41BA-A05F-CFC3DD628D3D}"/>
            </c:ext>
          </c:extLst>
        </c:ser>
        <c:dLbls>
          <c:showLegendKey val="0"/>
          <c:showVal val="0"/>
          <c:showCatName val="0"/>
          <c:showSerName val="0"/>
          <c:showPercent val="0"/>
          <c:showBubbleSize val="0"/>
        </c:dLbls>
        <c:marker val="1"/>
        <c:smooth val="0"/>
        <c:axId val="1088537424"/>
        <c:axId val="101033174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H$2:$H$2454</c:f>
              <c:numCache>
                <c:formatCode>#,##0.00</c:formatCode>
                <c:ptCount val="2401"/>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1.656769771269931</c:v>
                </c:pt>
                <c:pt idx="2254">
                  <c:v>1.7900523302950642</c:v>
                </c:pt>
                <c:pt idx="2255">
                  <c:v>1.8991536250399232</c:v>
                </c:pt>
                <c:pt idx="2256">
                  <c:v>2.0166818170650811</c:v>
                </c:pt>
                <c:pt idx="2257">
                  <c:v>2.1331167235830284</c:v>
                </c:pt>
                <c:pt idx="2258">
                  <c:v>2.2473589170331425</c:v>
                </c:pt>
                <c:pt idx="2259">
                  <c:v>2.3635174311475815</c:v>
                </c:pt>
                <c:pt idx="2260">
                  <c:v>2.4740743925509179</c:v>
                </c:pt>
                <c:pt idx="2261">
                  <c:v>2.5723963835589516</c:v>
                </c:pt>
                <c:pt idx="2262">
                  <c:v>2.6831498906714493</c:v>
                </c:pt>
                <c:pt idx="2263">
                  <c:v>2.7987310517652264</c:v>
                </c:pt>
                <c:pt idx="2264">
                  <c:v>2.9136980075178736</c:v>
                </c:pt>
                <c:pt idx="2265">
                  <c:v>3.0488231825663954</c:v>
                </c:pt>
                <c:pt idx="2266">
                  <c:v>3.1530783971697414</c:v>
                </c:pt>
                <c:pt idx="2267">
                  <c:v>3.2792607424514162</c:v>
                </c:pt>
                <c:pt idx="2268">
                  <c:v>3.3832395646512539</c:v>
                </c:pt>
                <c:pt idx="2269">
                  <c:v>3.4946809817458169</c:v>
                </c:pt>
                <c:pt idx="2270">
                  <c:v>3.4998648748249512</c:v>
                </c:pt>
                <c:pt idx="2271">
                  <c:v>3.5131501363535858</c:v>
                </c:pt>
                <c:pt idx="2272">
                  <c:v>3.4895646512542076</c:v>
                </c:pt>
                <c:pt idx="2273">
                  <c:v>3.4810026287988598</c:v>
                </c:pt>
                <c:pt idx="2274">
                  <c:v>3.4669741788074586</c:v>
                </c:pt>
                <c:pt idx="2275">
                  <c:v>3.473730437559885</c:v>
                </c:pt>
                <c:pt idx="2276">
                  <c:v>3.4682824361840652</c:v>
                </c:pt>
                <c:pt idx="2277">
                  <c:v>3.4892268383165868</c:v>
                </c:pt>
                <c:pt idx="2278">
                  <c:v>3.4967999901727151</c:v>
                </c:pt>
                <c:pt idx="2279">
                  <c:v>3.4879370071002143</c:v>
                </c:pt>
                <c:pt idx="2280">
                  <c:v>3.4754747807286934</c:v>
                </c:pt>
                <c:pt idx="2281">
                  <c:v>3.4650455740363126</c:v>
                </c:pt>
                <c:pt idx="2282">
                  <c:v>3.4622693658944059</c:v>
                </c:pt>
                <c:pt idx="2283">
                  <c:v>3.457005626120925</c:v>
                </c:pt>
                <c:pt idx="2284">
                  <c:v>3.4354347345404519</c:v>
                </c:pt>
                <c:pt idx="2285">
                  <c:v>3.3941908458835957</c:v>
                </c:pt>
                <c:pt idx="2286">
                  <c:v>3.394184703830184</c:v>
                </c:pt>
                <c:pt idx="2287">
                  <c:v>3.39605803012063</c:v>
                </c:pt>
                <c:pt idx="2288">
                  <c:v>3.3745547011276806</c:v>
                </c:pt>
                <c:pt idx="2289">
                  <c:v>3.3498636464142693</c:v>
                </c:pt>
                <c:pt idx="2290">
                  <c:v>3.3429968307004398</c:v>
                </c:pt>
                <c:pt idx="2291">
                  <c:v>3.3356755030341736</c:v>
                </c:pt>
                <c:pt idx="2292">
                  <c:v>3.3393423089207181</c:v>
                </c:pt>
                <c:pt idx="2293">
                  <c:v>3.3455703510797727</c:v>
                </c:pt>
                <c:pt idx="2294">
                  <c:v>3.3411235044099952</c:v>
                </c:pt>
                <c:pt idx="2295">
                  <c:v>3.3289745227624503</c:v>
                </c:pt>
                <c:pt idx="2296">
                  <c:v>3.3194420558681186</c:v>
                </c:pt>
                <c:pt idx="2297">
                  <c:v>3.319595607203401</c:v>
                </c:pt>
                <c:pt idx="2298">
                  <c:v>3.3197184482716264</c:v>
                </c:pt>
                <c:pt idx="2299">
                  <c:v>3.3323649362454857</c:v>
                </c:pt>
                <c:pt idx="2300">
                  <c:v>3.3407181288848489</c:v>
                </c:pt>
                <c:pt idx="2301">
                  <c:v>3.3191595214111986</c:v>
                </c:pt>
                <c:pt idx="2302">
                  <c:v>3.3244601135051477</c:v>
                </c:pt>
                <c:pt idx="2303">
                  <c:v>3.3330098518536726</c:v>
                </c:pt>
                <c:pt idx="2304">
                  <c:v>3.3440901162076511</c:v>
                </c:pt>
                <c:pt idx="2305">
                  <c:v>3.361410706827507</c:v>
                </c:pt>
                <c:pt idx="2306">
                  <c:v>3.3523204677787874</c:v>
                </c:pt>
                <c:pt idx="2307">
                  <c:v>3.3665086111588822</c:v>
                </c:pt>
                <c:pt idx="2308">
                  <c:v>3.3369039137164331</c:v>
                </c:pt>
                <c:pt idx="2309">
                  <c:v>3.3511043412033508</c:v>
                </c:pt>
                <c:pt idx="2310">
                  <c:v>3.3397538264992748</c:v>
                </c:pt>
                <c:pt idx="2311">
                  <c:v>3.3353622583101981</c:v>
                </c:pt>
                <c:pt idx="2312">
                  <c:v>3.327752254133602</c:v>
                </c:pt>
                <c:pt idx="2313">
                  <c:v>3.3458958799105716</c:v>
                </c:pt>
                <c:pt idx="2314">
                  <c:v>3.3665331793725275</c:v>
                </c:pt>
                <c:pt idx="2315">
                  <c:v>3.3712748446060492</c:v>
                </c:pt>
                <c:pt idx="2316">
                  <c:v>3.4073286981303594</c:v>
                </c:pt>
                <c:pt idx="2317">
                  <c:v>3.4047367515907925</c:v>
                </c:pt>
                <c:pt idx="2318">
                  <c:v>3.4063951060118427</c:v>
                </c:pt>
                <c:pt idx="2319">
                  <c:v>3.4217379554332616</c:v>
                </c:pt>
                <c:pt idx="2320">
                  <c:v>3.4384566248188113</c:v>
                </c:pt>
                <c:pt idx="2321">
                  <c:v>3.4416566346460966</c:v>
                </c:pt>
                <c:pt idx="2322">
                  <c:v>3.4515207724246388</c:v>
                </c:pt>
                <c:pt idx="2323">
                  <c:v>3.4760091393754773</c:v>
                </c:pt>
                <c:pt idx="2324">
                  <c:v>3.4523868019556314</c:v>
                </c:pt>
                <c:pt idx="2325">
                  <c:v>3.4472213350367307</c:v>
                </c:pt>
                <c:pt idx="2326">
                  <c:v>3.4419146008893704</c:v>
                </c:pt>
                <c:pt idx="2327">
                  <c:v>3.4123836080878571</c:v>
                </c:pt>
                <c:pt idx="2328">
                  <c:v>3.4096135419993625</c:v>
                </c:pt>
                <c:pt idx="2329">
                  <c:v>3.4044050807065833</c:v>
                </c:pt>
                <c:pt idx="2330">
                  <c:v>3.3978883620371967</c:v>
                </c:pt>
                <c:pt idx="2331">
                  <c:v>3.3800518389307923</c:v>
                </c:pt>
                <c:pt idx="2332">
                  <c:v>3.3855919711077811</c:v>
                </c:pt>
                <c:pt idx="2333">
                  <c:v>3.3883620371962762</c:v>
                </c:pt>
                <c:pt idx="2334">
                  <c:v>3.4026177431638955</c:v>
                </c:pt>
                <c:pt idx="2335">
                  <c:v>3.4056027811217855</c:v>
                </c:pt>
                <c:pt idx="2336">
                  <c:v>3.4029924084219845</c:v>
                </c:pt>
                <c:pt idx="2337">
                  <c:v>3.3956833648625415</c:v>
                </c:pt>
                <c:pt idx="2338">
                  <c:v>3.3906775913323353</c:v>
                </c:pt>
                <c:pt idx="2339">
                  <c:v>3.3978453676633178</c:v>
                </c:pt>
                <c:pt idx="2340">
                  <c:v>3.3851681694224021</c:v>
                </c:pt>
                <c:pt idx="2341">
                  <c:v>3.3871152003537834</c:v>
                </c:pt>
                <c:pt idx="2342">
                  <c:v>3.4104058668894197</c:v>
                </c:pt>
                <c:pt idx="2343">
                  <c:v>3.4144043436601739</c:v>
                </c:pt>
                <c:pt idx="2344">
                  <c:v>3.4203068569884296</c:v>
                </c:pt>
                <c:pt idx="2345">
                  <c:v>3.4299867331646321</c:v>
                </c:pt>
                <c:pt idx="2346">
                  <c:v>3.4377257204628662</c:v>
                </c:pt>
                <c:pt idx="2347">
                  <c:v>3.4294278063042043</c:v>
                </c:pt>
                <c:pt idx="2348">
                  <c:v>3.4123528978208002</c:v>
                </c:pt>
                <c:pt idx="2349">
                  <c:v>3.4116772719455573</c:v>
                </c:pt>
                <c:pt idx="2350">
                  <c:v>3.4180281551728373</c:v>
                </c:pt>
                <c:pt idx="2351">
                  <c:v>3.4261848021030392</c:v>
                </c:pt>
                <c:pt idx="2352">
                  <c:v>3.434617841436749</c:v>
                </c:pt>
                <c:pt idx="2353">
                  <c:v>3.4220143478367686</c:v>
                </c:pt>
                <c:pt idx="2354">
                  <c:v>3.3967029457288156</c:v>
                </c:pt>
                <c:pt idx="2355">
                  <c:v>3.4317126501732051</c:v>
                </c:pt>
                <c:pt idx="2356">
                  <c:v>3.4528843082819436</c:v>
                </c:pt>
                <c:pt idx="2357">
                  <c:v>3.4702663194359129</c:v>
                </c:pt>
                <c:pt idx="2358">
                  <c:v>3.4862356583052843</c:v>
                </c:pt>
                <c:pt idx="2359">
                  <c:v>3.4838156892612333</c:v>
                </c:pt>
                <c:pt idx="2360">
                  <c:v>3.4605495909392423</c:v>
                </c:pt>
                <c:pt idx="2361">
                  <c:v>3.4465027147876079</c:v>
                </c:pt>
                <c:pt idx="2362">
                  <c:v>3.4570547625482146</c:v>
                </c:pt>
                <c:pt idx="2363">
                  <c:v>3.4860636808097683</c:v>
                </c:pt>
                <c:pt idx="2364">
                  <c:v>3.4725450212515052</c:v>
                </c:pt>
                <c:pt idx="2365">
                  <c:v>3.4668390536324107</c:v>
                </c:pt>
                <c:pt idx="2366">
                  <c:v>3.4369333955728076</c:v>
                </c:pt>
                <c:pt idx="2367">
                  <c:v>3.4468159595115835</c:v>
                </c:pt>
                <c:pt idx="2368">
                  <c:v>3.4558939144534802</c:v>
                </c:pt>
                <c:pt idx="2369">
                  <c:v>3.437308060830897</c:v>
                </c:pt>
                <c:pt idx="2370">
                  <c:v>3.4461710439033975</c:v>
                </c:pt>
                <c:pt idx="2371">
                  <c:v>3.4437547600913936</c:v>
                </c:pt>
                <c:pt idx="2372">
                  <c:v>3.4540601938177899</c:v>
                </c:pt>
                <c:pt idx="2373">
                  <c:v>3.4520794799260139</c:v>
                </c:pt>
                <c:pt idx="2374">
                  <c:v>3.4576951284872073</c:v>
                </c:pt>
                <c:pt idx="2375">
                  <c:v>3.4469799050911005</c:v>
                </c:pt>
                <c:pt idx="2376">
                  <c:v>3.43110434120335</c:v>
                </c:pt>
                <c:pt idx="2377">
                  <c:v>3.4354531607006855</c:v>
                </c:pt>
                <c:pt idx="2378">
                  <c:v>3.423358389350641</c:v>
                </c:pt>
                <c:pt idx="2379">
                  <c:v>3.4529529876064529</c:v>
                </c:pt>
                <c:pt idx="2380">
                  <c:v>3.4396692416494394</c:v>
                </c:pt>
                <c:pt idx="2381">
                  <c:v>3.4308834729626803</c:v>
                </c:pt>
                <c:pt idx="2382">
                  <c:v>3.4247604922435566</c:v>
                </c:pt>
                <c:pt idx="2383">
                  <c:v>3.4067656765676566</c:v>
                </c:pt>
                <c:pt idx="2384">
                  <c:v>3.4239057389901895</c:v>
                </c:pt>
                <c:pt idx="2385">
                  <c:v>3.4418911843107391</c:v>
                </c:pt>
                <c:pt idx="2386">
                  <c:v>3.406054836252856</c:v>
                </c:pt>
                <c:pt idx="2387">
                  <c:v>3.3678190621259927</c:v>
                </c:pt>
                <c:pt idx="2388">
                  <c:v>3.3529058527154496</c:v>
                </c:pt>
                <c:pt idx="2389">
                  <c:v>3.34290111703478</c:v>
                </c:pt>
                <c:pt idx="2390">
                  <c:v>3.3671847954026166</c:v>
                </c:pt>
                <c:pt idx="2391">
                  <c:v>3.4006283320639752</c:v>
                </c:pt>
                <c:pt idx="2392">
                  <c:v>3.447596682745198</c:v>
                </c:pt>
                <c:pt idx="2393">
                  <c:v>3.442569497334349</c:v>
                </c:pt>
                <c:pt idx="2394">
                  <c:v>3.355402023718856</c:v>
                </c:pt>
                <c:pt idx="2395">
                  <c:v>3.3657654226961156</c:v>
                </c:pt>
                <c:pt idx="2396">
                  <c:v>3.302284843869002</c:v>
                </c:pt>
                <c:pt idx="2397">
                  <c:v>3.3700019040365579</c:v>
                </c:pt>
                <c:pt idx="2398">
                  <c:v>3.1414699162223916</c:v>
                </c:pt>
                <c:pt idx="2399">
                  <c:v>3.1701256664127953</c:v>
                </c:pt>
                <c:pt idx="2400">
                  <c:v>3.2730388423457732</c:v>
                </c:pt>
              </c:numCache>
            </c:numRef>
          </c:val>
          <c:smooth val="0"/>
          <c:extLst>
            <c:ext xmlns:c16="http://schemas.microsoft.com/office/drawing/2014/chart" uri="{C3380CC4-5D6E-409C-BE32-E72D297353CC}">
              <c16:uniqueId val="{00000006-EF11-41BA-A05F-CFC3DD628D3D}"/>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4</c:f>
              <c:numCache>
                <c:formatCode>m/d/yyyy\ h:mm</c:formatCode>
                <c:ptCount val="2401"/>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2</c:v>
                </c:pt>
                <c:pt idx="2370">
                  <c:v>41982.000694444447</c:v>
                </c:pt>
                <c:pt idx="2371">
                  <c:v>41982.001388888886</c:v>
                </c:pt>
                <c:pt idx="2372">
                  <c:v>41982.002083333333</c:v>
                </c:pt>
                <c:pt idx="2373">
                  <c:v>41982.00277777778</c:v>
                </c:pt>
                <c:pt idx="2374">
                  <c:v>41982.003472222219</c:v>
                </c:pt>
                <c:pt idx="2375">
                  <c:v>41982.004166666666</c:v>
                </c:pt>
                <c:pt idx="2376">
                  <c:v>41982.004861111112</c:v>
                </c:pt>
                <c:pt idx="2377">
                  <c:v>41982.005555555559</c:v>
                </c:pt>
                <c:pt idx="2378">
                  <c:v>41982.006249999999</c:v>
                </c:pt>
                <c:pt idx="2379">
                  <c:v>41982.006944444445</c:v>
                </c:pt>
                <c:pt idx="2380">
                  <c:v>41982.007638888892</c:v>
                </c:pt>
                <c:pt idx="2381">
                  <c:v>41982.008333333331</c:v>
                </c:pt>
                <c:pt idx="2382">
                  <c:v>41982.009027777778</c:v>
                </c:pt>
                <c:pt idx="2383">
                  <c:v>41982.009722222225</c:v>
                </c:pt>
                <c:pt idx="2384">
                  <c:v>41982.010416666664</c:v>
                </c:pt>
                <c:pt idx="2385">
                  <c:v>41982.011111111111</c:v>
                </c:pt>
                <c:pt idx="2386">
                  <c:v>41982.011805555558</c:v>
                </c:pt>
                <c:pt idx="2387">
                  <c:v>41982.012499999997</c:v>
                </c:pt>
                <c:pt idx="2388">
                  <c:v>41982.013194444444</c:v>
                </c:pt>
                <c:pt idx="2389">
                  <c:v>41982.013888888891</c:v>
                </c:pt>
                <c:pt idx="2390">
                  <c:v>41982.01458333333</c:v>
                </c:pt>
                <c:pt idx="2391">
                  <c:v>41982.015277777777</c:v>
                </c:pt>
                <c:pt idx="2392">
                  <c:v>41982.015972222223</c:v>
                </c:pt>
                <c:pt idx="2393">
                  <c:v>41982.01666666667</c:v>
                </c:pt>
                <c:pt idx="2394">
                  <c:v>41982.017361111109</c:v>
                </c:pt>
                <c:pt idx="2395">
                  <c:v>41982.018055555556</c:v>
                </c:pt>
                <c:pt idx="2396">
                  <c:v>41982.018750000003</c:v>
                </c:pt>
                <c:pt idx="2397">
                  <c:v>41982.019444444442</c:v>
                </c:pt>
                <c:pt idx="2398">
                  <c:v>41982.020138888889</c:v>
                </c:pt>
                <c:pt idx="2399">
                  <c:v>41982.020833333336</c:v>
                </c:pt>
                <c:pt idx="2400">
                  <c:v>41982.021527777775</c:v>
                </c:pt>
              </c:numCache>
            </c:numRef>
          </c:cat>
          <c:val>
            <c:numRef>
              <c:f>'DRT Rolling Mean'!$J$2:$J$2454</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numCache>
            </c:numRef>
          </c:val>
          <c:smooth val="0"/>
          <c:extLst>
            <c:ext xmlns:c16="http://schemas.microsoft.com/office/drawing/2014/chart" uri="{C3380CC4-5D6E-409C-BE32-E72D297353CC}">
              <c16:uniqueId val="{00000007-EF11-41BA-A05F-CFC3DD628D3D}"/>
            </c:ext>
          </c:extLst>
        </c:ser>
        <c:dLbls>
          <c:showLegendKey val="0"/>
          <c:showVal val="0"/>
          <c:showCatName val="0"/>
          <c:showSerName val="0"/>
          <c:showPercent val="0"/>
          <c:showBubbleSize val="0"/>
        </c:dLbls>
        <c:marker val="1"/>
        <c:smooth val="0"/>
        <c:axId val="1096044528"/>
        <c:axId val="1010333824"/>
      </c:lineChart>
      <c:dateAx>
        <c:axId val="1088537424"/>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0331744"/>
        <c:crosses val="autoZero"/>
        <c:auto val="1"/>
        <c:lblOffset val="100"/>
        <c:baseTimeUnit val="days"/>
      </c:dateAx>
      <c:valAx>
        <c:axId val="101033174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8537424"/>
        <c:crosses val="autoZero"/>
        <c:crossBetween val="between"/>
      </c:valAx>
      <c:valAx>
        <c:axId val="101033382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6044528"/>
        <c:crosses val="max"/>
        <c:crossBetween val="between"/>
      </c:valAx>
      <c:dateAx>
        <c:axId val="1096044528"/>
        <c:scaling>
          <c:orientation val="minMax"/>
        </c:scaling>
        <c:delete val="1"/>
        <c:axPos val="b"/>
        <c:numFmt formatCode="m/d/yyyy\ h:mm" sourceLinked="1"/>
        <c:majorTickMark val="out"/>
        <c:minorTickMark val="none"/>
        <c:tickLblPos val="nextTo"/>
        <c:crossAx val="1010333824"/>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DRT Rolling Stdev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C$2:$C$2453</c:f>
              <c:numCache>
                <c:formatCode>#,##0.00</c:formatCode>
                <c:ptCount val="52"/>
                <c:pt idx="0">
                  <c:v>1.1169832627194565</c:v>
                </c:pt>
                <c:pt idx="1">
                  <c:v>1.0571643376417921</c:v>
                </c:pt>
                <c:pt idx="2">
                  <c:v>1.0667109724993808</c:v>
                </c:pt>
                <c:pt idx="3">
                  <c:v>1.0171752637777718</c:v>
                </c:pt>
                <c:pt idx="4">
                  <c:v>1.015595912492397</c:v>
                </c:pt>
                <c:pt idx="5">
                  <c:v>1.0230917757509317</c:v>
                </c:pt>
                <c:pt idx="6">
                  <c:v>1.0287236260777597</c:v>
                </c:pt>
                <c:pt idx="7">
                  <c:v>0.99732377523233529</c:v>
                </c:pt>
                <c:pt idx="8">
                  <c:v>0.99549998989706545</c:v>
                </c:pt>
                <c:pt idx="9">
                  <c:v>1.019849493065397</c:v>
                </c:pt>
                <c:pt idx="10">
                  <c:v>1.0219774048832753</c:v>
                </c:pt>
                <c:pt idx="11">
                  <c:v>1.0295929337342025</c:v>
                </c:pt>
                <c:pt idx="12">
                  <c:v>1.0431958522765017</c:v>
                </c:pt>
                <c:pt idx="13">
                  <c:v>1.02919279830941</c:v>
                </c:pt>
                <c:pt idx="14">
                  <c:v>1.0176576666231043</c:v>
                </c:pt>
                <c:pt idx="15">
                  <c:v>0.98305411972019663</c:v>
                </c:pt>
                <c:pt idx="16">
                  <c:v>1.0239643492357278</c:v>
                </c:pt>
                <c:pt idx="17">
                  <c:v>1.053662250406189</c:v>
                </c:pt>
                <c:pt idx="18">
                  <c:v>1.0192253086953136</c:v>
                </c:pt>
                <c:pt idx="19">
                  <c:v>0.99778006467921776</c:v>
                </c:pt>
                <c:pt idx="20">
                  <c:v>0.95707342468061696</c:v>
                </c:pt>
                <c:pt idx="21">
                  <c:v>0.99371796919390065</c:v>
                </c:pt>
                <c:pt idx="22">
                  <c:v>1.0312619765936373</c:v>
                </c:pt>
                <c:pt idx="23">
                  <c:v>1.0258133302437371</c:v>
                </c:pt>
                <c:pt idx="24">
                  <c:v>1.022586790371538</c:v>
                </c:pt>
                <c:pt idx="25">
                  <c:v>1.0389432971068124</c:v>
                </c:pt>
                <c:pt idx="26">
                  <c:v>1.0391751056895562</c:v>
                </c:pt>
                <c:pt idx="27">
                  <c:v>1.057892244040006</c:v>
                </c:pt>
                <c:pt idx="28">
                  <c:v>1.0243131031736992</c:v>
                </c:pt>
                <c:pt idx="29">
                  <c:v>1.0304241423042642</c:v>
                </c:pt>
                <c:pt idx="30">
                  <c:v>1.0335020475129397</c:v>
                </c:pt>
                <c:pt idx="31">
                  <c:v>1.0524072590784612</c:v>
                </c:pt>
                <c:pt idx="32">
                  <c:v>1.0646812623861615</c:v>
                </c:pt>
                <c:pt idx="33">
                  <c:v>1.0894933636666559</c:v>
                </c:pt>
                <c:pt idx="34">
                  <c:v>1.1189199575237854</c:v>
                </c:pt>
                <c:pt idx="35">
                  <c:v>1.0598458390796182</c:v>
                </c:pt>
                <c:pt idx="36">
                  <c:v>1.0626378803270109</c:v>
                </c:pt>
                <c:pt idx="37">
                  <c:v>1.0888457190989</c:v>
                </c:pt>
                <c:pt idx="38">
                  <c:v>1.0829435196106338</c:v>
                </c:pt>
                <c:pt idx="39">
                  <c:v>1.0921148452268359</c:v>
                </c:pt>
                <c:pt idx="40">
                  <c:v>1.1360491592830357</c:v>
                </c:pt>
                <c:pt idx="41">
                  <c:v>1.1753229730202208</c:v>
                </c:pt>
                <c:pt idx="42">
                  <c:v>1.1791969532463416</c:v>
                </c:pt>
                <c:pt idx="43">
                  <c:v>1.242426389502949</c:v>
                </c:pt>
                <c:pt idx="44">
                  <c:v>1.2199601541762657</c:v>
                </c:pt>
                <c:pt idx="45">
                  <c:v>1.2694817559033407</c:v>
                </c:pt>
                <c:pt idx="46">
                  <c:v>1.3135701986063273</c:v>
                </c:pt>
                <c:pt idx="47">
                  <c:v>1.3571551127266184</c:v>
                </c:pt>
                <c:pt idx="48">
                  <c:v>1.50985098602478</c:v>
                </c:pt>
                <c:pt idx="49">
                  <c:v>1.5650851946992108</c:v>
                </c:pt>
                <c:pt idx="50">
                  <c:v>1.7643790220169056</c:v>
                </c:pt>
                <c:pt idx="51">
                  <c:v>0.38183766184073509</c:v>
                </c:pt>
              </c:numCache>
            </c:numRef>
          </c:val>
          <c:smooth val="0"/>
          <c:extLst>
            <c:ext xmlns:c16="http://schemas.microsoft.com/office/drawing/2014/chart" uri="{C3380CC4-5D6E-409C-BE32-E72D297353CC}">
              <c16:uniqueId val="{00000000-E4B8-445A-A2F1-F193651A51BD}"/>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D$2:$D$2453</c:f>
              <c:numCache>
                <c:formatCode>#,##0.00</c:formatCode>
                <c:ptCount val="52"/>
                <c:pt idx="0">
                  <c:v>1.1433355618087595</c:v>
                </c:pt>
                <c:pt idx="1">
                  <c:v>1.1537224112839493</c:v>
                </c:pt>
                <c:pt idx="2">
                  <c:v>1.1323600113931516</c:v>
                </c:pt>
                <c:pt idx="3">
                  <c:v>1.1429675028817214</c:v>
                </c:pt>
                <c:pt idx="4">
                  <c:v>1.1155888605338107</c:v>
                </c:pt>
                <c:pt idx="5">
                  <c:v>1.1029440227143801</c:v>
                </c:pt>
                <c:pt idx="6">
                  <c:v>1.0807370835120633</c:v>
                </c:pt>
                <c:pt idx="7">
                  <c:v>1.0416364225494463</c:v>
                </c:pt>
                <c:pt idx="8">
                  <c:v>1.0543765385560655</c:v>
                </c:pt>
                <c:pt idx="9">
                  <c:v>1.0143069090502763</c:v>
                </c:pt>
                <c:pt idx="10">
                  <c:v>0.97593344647779212</c:v>
                </c:pt>
                <c:pt idx="11">
                  <c:v>0.9401347421159012</c:v>
                </c:pt>
                <c:pt idx="12">
                  <c:v>0.96274655000172749</c:v>
                </c:pt>
                <c:pt idx="13">
                  <c:v>0.97373200778679592</c:v>
                </c:pt>
                <c:pt idx="14">
                  <c:v>0.92862925801989116</c:v>
                </c:pt>
                <c:pt idx="15">
                  <c:v>0.93191935174719831</c:v>
                </c:pt>
                <c:pt idx="16">
                  <c:v>0.93293068079703145</c:v>
                </c:pt>
                <c:pt idx="17">
                  <c:v>0.89486941190757852</c:v>
                </c:pt>
                <c:pt idx="18">
                  <c:v>0.90626231263930623</c:v>
                </c:pt>
                <c:pt idx="19">
                  <c:v>0.86117595355914622</c:v>
                </c:pt>
                <c:pt idx="20">
                  <c:v>0.85451612980209635</c:v>
                </c:pt>
                <c:pt idx="21">
                  <c:v>0.86685910772378538</c:v>
                </c:pt>
                <c:pt idx="22">
                  <c:v>0.85808561317634802</c:v>
                </c:pt>
                <c:pt idx="23">
                  <c:v>0.85136374710522922</c:v>
                </c:pt>
                <c:pt idx="24">
                  <c:v>0.8611437004974275</c:v>
                </c:pt>
                <c:pt idx="25">
                  <c:v>0.8630302219628021</c:v>
                </c:pt>
                <c:pt idx="26">
                  <c:v>0.87801933277004107</c:v>
                </c:pt>
                <c:pt idx="27">
                  <c:v>0.83488598945282066</c:v>
                </c:pt>
                <c:pt idx="28">
                  <c:v>0.84859197105165529</c:v>
                </c:pt>
                <c:pt idx="29">
                  <c:v>0.86644158169651231</c:v>
                </c:pt>
                <c:pt idx="30">
                  <c:v>0.86300170148087962</c:v>
                </c:pt>
                <c:pt idx="31">
                  <c:v>0.79781574107682096</c:v>
                </c:pt>
                <c:pt idx="32">
                  <c:v>0.81685663485385374</c:v>
                </c:pt>
                <c:pt idx="33">
                  <c:v>0.75590499960051349</c:v>
                </c:pt>
                <c:pt idx="34">
                  <c:v>0.77626787442576617</c:v>
                </c:pt>
                <c:pt idx="35">
                  <c:v>0.79656062137756434</c:v>
                </c:pt>
                <c:pt idx="36">
                  <c:v>0.82107309626595637</c:v>
                </c:pt>
                <c:pt idx="37">
                  <c:v>0.81568759338364305</c:v>
                </c:pt>
                <c:pt idx="38">
                  <c:v>0.77714557072355361</c:v>
                </c:pt>
                <c:pt idx="39">
                  <c:v>0.79628395178361577</c:v>
                </c:pt>
                <c:pt idx="40">
                  <c:v>0.76340247139587725</c:v>
                </c:pt>
                <c:pt idx="41">
                  <c:v>0.79704520612450869</c:v>
                </c:pt>
                <c:pt idx="42">
                  <c:v>0.76149135970744319</c:v>
                </c:pt>
                <c:pt idx="43">
                  <c:v>0.68197099970925723</c:v>
                </c:pt>
                <c:pt idx="44">
                  <c:v>0.72311824759163645</c:v>
                </c:pt>
                <c:pt idx="45">
                  <c:v>0.76404936265363654</c:v>
                </c:pt>
                <c:pt idx="46">
                  <c:v>0.82360415827253375</c:v>
                </c:pt>
                <c:pt idx="47">
                  <c:v>0.89767291741851385</c:v>
                </c:pt>
                <c:pt idx="48">
                  <c:v>0.82314640253116567</c:v>
                </c:pt>
                <c:pt idx="49">
                  <c:v>0.93289424195171566</c:v>
                </c:pt>
                <c:pt idx="50">
                  <c:v>1.1001969520650978</c:v>
                </c:pt>
                <c:pt idx="51">
                  <c:v>0.6434671708797558</c:v>
                </c:pt>
              </c:numCache>
            </c:numRef>
          </c:val>
          <c:smooth val="0"/>
          <c:extLst>
            <c:ext xmlns:c16="http://schemas.microsoft.com/office/drawing/2014/chart" uri="{C3380CC4-5D6E-409C-BE32-E72D297353CC}">
              <c16:uniqueId val="{00000001-E4B8-445A-A2F1-F193651A51BD}"/>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E$2:$E$2453</c:f>
              <c:numCache>
                <c:formatCode>#,##0.00</c:formatCode>
                <c:ptCount val="52"/>
                <c:pt idx="0">
                  <c:v>6.5636582174426401</c:v>
                </c:pt>
                <c:pt idx="1">
                  <c:v>6.7908830025279467</c:v>
                </c:pt>
                <c:pt idx="2">
                  <c:v>7.0205773086781438</c:v>
                </c:pt>
                <c:pt idx="3">
                  <c:v>6.923639332691689</c:v>
                </c:pt>
                <c:pt idx="4">
                  <c:v>6.7042618114734767</c:v>
                </c:pt>
                <c:pt idx="5">
                  <c:v>6.6888997084980151</c:v>
                </c:pt>
                <c:pt idx="6">
                  <c:v>6.6142479438004873</c:v>
                </c:pt>
                <c:pt idx="7">
                  <c:v>6.4054574432643969</c:v>
                </c:pt>
                <c:pt idx="8">
                  <c:v>6.2913916739782056</c:v>
                </c:pt>
                <c:pt idx="9">
                  <c:v>6.338080495529864</c:v>
                </c:pt>
                <c:pt idx="10">
                  <c:v>6.2881022482985651</c:v>
                </c:pt>
                <c:pt idx="11">
                  <c:v>6.2061334141333919</c:v>
                </c:pt>
                <c:pt idx="12">
                  <c:v>6.4076104176492983</c:v>
                </c:pt>
                <c:pt idx="13">
                  <c:v>6.4256132584467327</c:v>
                </c:pt>
                <c:pt idx="14">
                  <c:v>6.3543812381332803</c:v>
                </c:pt>
                <c:pt idx="15">
                  <c:v>6.4097626688719433</c:v>
                </c:pt>
                <c:pt idx="16">
                  <c:v>6.4899568742700495</c:v>
                </c:pt>
                <c:pt idx="17">
                  <c:v>6.4094936769921453</c:v>
                </c:pt>
                <c:pt idx="18">
                  <c:v>6.223887981735805</c:v>
                </c:pt>
                <c:pt idx="19">
                  <c:v>6.1158358607685077</c:v>
                </c:pt>
                <c:pt idx="20">
                  <c:v>6.0894670699004774</c:v>
                </c:pt>
                <c:pt idx="21">
                  <c:v>6.0894670699004774</c:v>
                </c:pt>
                <c:pt idx="22">
                  <c:v>6.0599495464687756</c:v>
                </c:pt>
                <c:pt idx="23">
                  <c:v>6.0409521971520244</c:v>
                </c:pt>
                <c:pt idx="24">
                  <c:v>5.9670689060919395</c:v>
                </c:pt>
                <c:pt idx="25">
                  <c:v>5.9960304329098397</c:v>
                </c:pt>
                <c:pt idx="26">
                  <c:v>5.7892719331250548</c:v>
                </c:pt>
                <c:pt idx="27">
                  <c:v>5.8918457340502526</c:v>
                </c:pt>
                <c:pt idx="28">
                  <c:v>5.8380932960456651</c:v>
                </c:pt>
                <c:pt idx="29">
                  <c:v>5.7854139430773337</c:v>
                </c:pt>
                <c:pt idx="30">
                  <c:v>5.9120697873046506</c:v>
                </c:pt>
                <c:pt idx="31">
                  <c:v>5.5267942376620605</c:v>
                </c:pt>
                <c:pt idx="32">
                  <c:v>5.3224591523628844</c:v>
                </c:pt>
                <c:pt idx="33">
                  <c:v>5.4192638847570045</c:v>
                </c:pt>
                <c:pt idx="34">
                  <c:v>5.5625102667623239</c:v>
                </c:pt>
                <c:pt idx="35">
                  <c:v>5.7189056954054749</c:v>
                </c:pt>
                <c:pt idx="36">
                  <c:v>5.3039940555374363</c:v>
                </c:pt>
                <c:pt idx="37">
                  <c:v>5.4757039121316025</c:v>
                </c:pt>
                <c:pt idx="38">
                  <c:v>5.5908087838114149</c:v>
                </c:pt>
                <c:pt idx="39">
                  <c:v>5.2503270437120459</c:v>
                </c:pt>
                <c:pt idx="40">
                  <c:v>5.3792097408353063</c:v>
                </c:pt>
                <c:pt idx="41">
                  <c:v>5.4411451557609274</c:v>
                </c:pt>
                <c:pt idx="42">
                  <c:v>5.0290067698213612</c:v>
                </c:pt>
                <c:pt idx="43">
                  <c:v>5.2025634707004453</c:v>
                </c:pt>
                <c:pt idx="44">
                  <c:v>5.0110987927909694</c:v>
                </c:pt>
                <c:pt idx="45">
                  <c:v>4.8088460154178359</c:v>
                </c:pt>
                <c:pt idx="46">
                  <c:v>4.3861253103502689</c:v>
                </c:pt>
                <c:pt idx="47">
                  <c:v>4.6761807778000488</c:v>
                </c:pt>
                <c:pt idx="48">
                  <c:v>5.1478150704935004</c:v>
                </c:pt>
                <c:pt idx="49">
                  <c:v>5.3541261347363367</c:v>
                </c:pt>
                <c:pt idx="50">
                  <c:v>0.57735026918962573</c:v>
                </c:pt>
                <c:pt idx="51">
                  <c:v>0.70710678118654757</c:v>
                </c:pt>
              </c:numCache>
            </c:numRef>
          </c:val>
          <c:smooth val="0"/>
          <c:extLst>
            <c:ext xmlns:c16="http://schemas.microsoft.com/office/drawing/2014/chart" uri="{C3380CC4-5D6E-409C-BE32-E72D297353CC}">
              <c16:uniqueId val="{00000002-E4B8-445A-A2F1-F193651A51BD}"/>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F$2:$F$2453</c:f>
              <c:numCache>
                <c:formatCode>#,##0.00</c:formatCode>
                <c:ptCount val="52"/>
                <c:pt idx="0">
                  <c:v>11.132225149609992</c:v>
                </c:pt>
                <c:pt idx="1">
                  <c:v>11.149403365306094</c:v>
                </c:pt>
                <c:pt idx="2">
                  <c:v>11.046609715514375</c:v>
                </c:pt>
                <c:pt idx="3">
                  <c:v>10.863891472719823</c:v>
                </c:pt>
                <c:pt idx="4">
                  <c:v>10.56175055152524</c:v>
                </c:pt>
                <c:pt idx="5">
                  <c:v>10.824886185061727</c:v>
                </c:pt>
                <c:pt idx="6">
                  <c:v>10.749445321161632</c:v>
                </c:pt>
                <c:pt idx="7">
                  <c:v>11.182909785219936</c:v>
                </c:pt>
                <c:pt idx="8">
                  <c:v>11.517153623452581</c:v>
                </c:pt>
                <c:pt idx="9">
                  <c:v>11.530868117372163</c:v>
                </c:pt>
                <c:pt idx="10">
                  <c:v>11.072436523851136</c:v>
                </c:pt>
                <c:pt idx="11">
                  <c:v>11.183732027769867</c:v>
                </c:pt>
                <c:pt idx="12">
                  <c:v>11.037084822511346</c:v>
                </c:pt>
                <c:pt idx="13">
                  <c:v>11.613557277754227</c:v>
                </c:pt>
                <c:pt idx="14">
                  <c:v>12.001388808522675</c:v>
                </c:pt>
                <c:pt idx="15">
                  <c:v>11.726578515413646</c:v>
                </c:pt>
                <c:pt idx="16">
                  <c:v>11.999233692007264</c:v>
                </c:pt>
                <c:pt idx="17">
                  <c:v>12.326450393781043</c:v>
                </c:pt>
                <c:pt idx="18">
                  <c:v>12.279737538847826</c:v>
                </c:pt>
                <c:pt idx="19">
                  <c:v>12.683095818459696</c:v>
                </c:pt>
                <c:pt idx="20">
                  <c:v>12.528404508964016</c:v>
                </c:pt>
                <c:pt idx="21">
                  <c:v>12.698311952254977</c:v>
                </c:pt>
                <c:pt idx="22">
                  <c:v>12.698311952254977</c:v>
                </c:pt>
                <c:pt idx="23">
                  <c:v>12.647474874047198</c:v>
                </c:pt>
                <c:pt idx="24">
                  <c:v>12.871283958444716</c:v>
                </c:pt>
                <c:pt idx="25">
                  <c:v>13.031250594762273</c:v>
                </c:pt>
                <c:pt idx="26">
                  <c:v>12.958293827405633</c:v>
                </c:pt>
                <c:pt idx="27">
                  <c:v>12.983776859545204</c:v>
                </c:pt>
                <c:pt idx="28">
                  <c:v>13.15826736314474</c:v>
                </c:pt>
                <c:pt idx="29">
                  <c:v>13.277146105080421</c:v>
                </c:pt>
                <c:pt idx="30">
                  <c:v>13.216052043653331</c:v>
                </c:pt>
                <c:pt idx="31">
                  <c:v>13.099023459190215</c:v>
                </c:pt>
                <c:pt idx="32">
                  <c:v>13.416052928878752</c:v>
                </c:pt>
                <c:pt idx="33">
                  <c:v>13.730871862531641</c:v>
                </c:pt>
                <c:pt idx="34">
                  <c:v>13.926708741632712</c:v>
                </c:pt>
                <c:pt idx="35">
                  <c:v>13.706183900859605</c:v>
                </c:pt>
                <c:pt idx="36">
                  <c:v>14.051114672132305</c:v>
                </c:pt>
                <c:pt idx="37">
                  <c:v>13.956479976460159</c:v>
                </c:pt>
                <c:pt idx="38">
                  <c:v>12.959644321985882</c:v>
                </c:pt>
                <c:pt idx="39">
                  <c:v>13.025123652151873</c:v>
                </c:pt>
                <c:pt idx="40">
                  <c:v>13.48978721012155</c:v>
                </c:pt>
                <c:pt idx="41">
                  <c:v>14.07340065728984</c:v>
                </c:pt>
                <c:pt idx="42">
                  <c:v>14.734005195156852</c:v>
                </c:pt>
                <c:pt idx="43">
                  <c:v>14.841383583300672</c:v>
                </c:pt>
                <c:pt idx="44">
                  <c:v>15.157506391224119</c:v>
                </c:pt>
                <c:pt idx="45">
                  <c:v>14.82216005079653</c:v>
                </c:pt>
                <c:pt idx="46">
                  <c:v>13.313079855469029</c:v>
                </c:pt>
                <c:pt idx="47">
                  <c:v>14.099645385611653</c:v>
                </c:pt>
                <c:pt idx="48">
                  <c:v>13.45362404707371</c:v>
                </c:pt>
                <c:pt idx="49">
                  <c:v>14.863265679744362</c:v>
                </c:pt>
                <c:pt idx="50">
                  <c:v>5.5075705472861021</c:v>
                </c:pt>
                <c:pt idx="51">
                  <c:v>7.0710678118654755</c:v>
                </c:pt>
              </c:numCache>
            </c:numRef>
          </c:val>
          <c:smooth val="0"/>
          <c:extLst>
            <c:ext xmlns:c16="http://schemas.microsoft.com/office/drawing/2014/chart" uri="{C3380CC4-5D6E-409C-BE32-E72D297353CC}">
              <c16:uniqueId val="{00000003-E4B8-445A-A2F1-F193651A51BD}"/>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G$2:$G$2453</c:f>
              <c:numCache>
                <c:formatCode>#,##0.00</c:formatCode>
                <c:ptCount val="52"/>
                <c:pt idx="0">
                  <c:v>3.0859339762456242</c:v>
                </c:pt>
                <c:pt idx="1">
                  <c:v>3.1332477366640425</c:v>
                </c:pt>
                <c:pt idx="2">
                  <c:v>3.1615506162088525</c:v>
                </c:pt>
                <c:pt idx="3">
                  <c:v>3.1856358646381677</c:v>
                </c:pt>
                <c:pt idx="4">
                  <c:v>3.1905031491643427</c:v>
                </c:pt>
                <c:pt idx="5">
                  <c:v>3.1905031491643427</c:v>
                </c:pt>
                <c:pt idx="6">
                  <c:v>3.2976829204273361</c:v>
                </c:pt>
                <c:pt idx="7">
                  <c:v>3.3930286880839842</c:v>
                </c:pt>
                <c:pt idx="8">
                  <c:v>3.3680377315166079</c:v>
                </c:pt>
                <c:pt idx="9">
                  <c:v>3.4139672543527864</c:v>
                </c:pt>
                <c:pt idx="10">
                  <c:v>3.4087446706793778</c:v>
                </c:pt>
                <c:pt idx="11">
                  <c:v>3.4087446706793778</c:v>
                </c:pt>
                <c:pt idx="12">
                  <c:v>3.3294229937429645</c:v>
                </c:pt>
                <c:pt idx="13">
                  <c:v>3.3495582141358669</c:v>
                </c:pt>
                <c:pt idx="14">
                  <c:v>3.3850584470072551</c:v>
                </c:pt>
                <c:pt idx="15">
                  <c:v>3.2842361207062636</c:v>
                </c:pt>
                <c:pt idx="16">
                  <c:v>3.2640500897666613</c:v>
                </c:pt>
                <c:pt idx="17">
                  <c:v>3.2414343355564275</c:v>
                </c:pt>
                <c:pt idx="18">
                  <c:v>3.2688006166275065</c:v>
                </c:pt>
                <c:pt idx="19">
                  <c:v>3.2270409206343009</c:v>
                </c:pt>
                <c:pt idx="20">
                  <c:v>3.0249916880288579</c:v>
                </c:pt>
                <c:pt idx="21">
                  <c:v>2.9651229355607671</c:v>
                </c:pt>
                <c:pt idx="22">
                  <c:v>2.9651229355607667</c:v>
                </c:pt>
                <c:pt idx="23">
                  <c:v>3.0842573949268433</c:v>
                </c:pt>
                <c:pt idx="24">
                  <c:v>3.046438605542527</c:v>
                </c:pt>
                <c:pt idx="25">
                  <c:v>3.0952686201181048</c:v>
                </c:pt>
                <c:pt idx="26">
                  <c:v>3.0569150044987108</c:v>
                </c:pt>
                <c:pt idx="27">
                  <c:v>3.0553861646909075</c:v>
                </c:pt>
                <c:pt idx="28">
                  <c:v>3.1134118476894979</c:v>
                </c:pt>
                <c:pt idx="29">
                  <c:v>3.1207579904219758</c:v>
                </c:pt>
                <c:pt idx="30">
                  <c:v>3.1610275009338467</c:v>
                </c:pt>
                <c:pt idx="31">
                  <c:v>3.1153856431632505</c:v>
                </c:pt>
                <c:pt idx="32">
                  <c:v>3.0519314727375049</c:v>
                </c:pt>
                <c:pt idx="33">
                  <c:v>2.87411313552363</c:v>
                </c:pt>
                <c:pt idx="34">
                  <c:v>2.4920927582635191</c:v>
                </c:pt>
                <c:pt idx="35">
                  <c:v>2.5546318307829945</c:v>
                </c:pt>
                <c:pt idx="36">
                  <c:v>2.5796146543051504</c:v>
                </c:pt>
                <c:pt idx="37">
                  <c:v>2.6004807247891688</c:v>
                </c:pt>
                <c:pt idx="38">
                  <c:v>2.6672618383439062</c:v>
                </c:pt>
                <c:pt idx="39">
                  <c:v>2.5901334345533646</c:v>
                </c:pt>
                <c:pt idx="40">
                  <c:v>2.665063620734804</c:v>
                </c:pt>
                <c:pt idx="41">
                  <c:v>2.7413776673693677</c:v>
                </c:pt>
                <c:pt idx="42">
                  <c:v>2.7699688216164584</c:v>
                </c:pt>
                <c:pt idx="43">
                  <c:v>2.6583202716502514</c:v>
                </c:pt>
                <c:pt idx="44">
                  <c:v>2.438123139721299</c:v>
                </c:pt>
                <c:pt idx="45">
                  <c:v>2.5071326821120348</c:v>
                </c:pt>
                <c:pt idx="46">
                  <c:v>2.5634797778466232</c:v>
                </c:pt>
                <c:pt idx="47">
                  <c:v>2.8047578623950176</c:v>
                </c:pt>
                <c:pt idx="48">
                  <c:v>2.5495097567963922</c:v>
                </c:pt>
                <c:pt idx="49">
                  <c:v>2.6457513110645907</c:v>
                </c:pt>
                <c:pt idx="50">
                  <c:v>2.5166114784235831</c:v>
                </c:pt>
                <c:pt idx="51">
                  <c:v>3.5355339059327378</c:v>
                </c:pt>
              </c:numCache>
            </c:numRef>
          </c:val>
          <c:smooth val="0"/>
          <c:extLst>
            <c:ext xmlns:c16="http://schemas.microsoft.com/office/drawing/2014/chart" uri="{C3380CC4-5D6E-409C-BE32-E72D297353CC}">
              <c16:uniqueId val="{00000004-E4B8-445A-A2F1-F193651A51BD}"/>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I$2:$I$2453</c:f>
              <c:numCache>
                <c:formatCode>#,##0.00</c:formatCode>
                <c:ptCount val="52"/>
                <c:pt idx="0">
                  <c:v>6.7017176793497866</c:v>
                </c:pt>
                <c:pt idx="1">
                  <c:v>6.5931845313666742</c:v>
                </c:pt>
                <c:pt idx="2">
                  <c:v>6.4540925856992617</c:v>
                </c:pt>
                <c:pt idx="3">
                  <c:v>6.7194836434856899</c:v>
                </c:pt>
                <c:pt idx="4">
                  <c:v>6.7363346292122834</c:v>
                </c:pt>
                <c:pt idx="5">
                  <c:v>6.9193715516169885</c:v>
                </c:pt>
                <c:pt idx="6">
                  <c:v>6.9168669874315256</c:v>
                </c:pt>
                <c:pt idx="7">
                  <c:v>6.8255813278848168</c:v>
                </c:pt>
                <c:pt idx="8">
                  <c:v>6.693763191190147</c:v>
                </c:pt>
                <c:pt idx="9">
                  <c:v>6.7579899409644915</c:v>
                </c:pt>
                <c:pt idx="10">
                  <c:v>6.798785535188693</c:v>
                </c:pt>
                <c:pt idx="11">
                  <c:v>6.7138011913357687</c:v>
                </c:pt>
                <c:pt idx="12">
                  <c:v>6.8201463139933143</c:v>
                </c:pt>
                <c:pt idx="13">
                  <c:v>6.6403047515104632</c:v>
                </c:pt>
                <c:pt idx="14">
                  <c:v>6.6887034663667082</c:v>
                </c:pt>
                <c:pt idx="15">
                  <c:v>6.5954550243517236</c:v>
                </c:pt>
                <c:pt idx="16">
                  <c:v>6.6094682380978726</c:v>
                </c:pt>
                <c:pt idx="17">
                  <c:v>6.6013749931459706</c:v>
                </c:pt>
                <c:pt idx="18">
                  <c:v>6.5603927992926385</c:v>
                </c:pt>
                <c:pt idx="19">
                  <c:v>6.5980000769683205</c:v>
                </c:pt>
                <c:pt idx="20">
                  <c:v>6.6010776313657145</c:v>
                </c:pt>
                <c:pt idx="21">
                  <c:v>6.1562195414444263</c:v>
                </c:pt>
                <c:pt idx="22">
                  <c:v>6.1620982413007823</c:v>
                </c:pt>
                <c:pt idx="23">
                  <c:v>13.804215416183176</c:v>
                </c:pt>
                <c:pt idx="24">
                  <c:v>18.410737994095275</c:v>
                </c:pt>
                <c:pt idx="25">
                  <c:v>21.86385487717672</c:v>
                </c:pt>
                <c:pt idx="26">
                  <c:v>24.617191698114919</c:v>
                </c:pt>
                <c:pt idx="27">
                  <c:v>26.932859740274562</c:v>
                </c:pt>
                <c:pt idx="28">
                  <c:v>28.732852096314367</c:v>
                </c:pt>
                <c:pt idx="29">
                  <c:v>30.379354856249055</c:v>
                </c:pt>
                <c:pt idx="30">
                  <c:v>31.818909775222433</c:v>
                </c:pt>
                <c:pt idx="31">
                  <c:v>32.840490505805725</c:v>
                </c:pt>
                <c:pt idx="32">
                  <c:v>33.634492088349234</c:v>
                </c:pt>
                <c:pt idx="33">
                  <c:v>33.915092344607167</c:v>
                </c:pt>
                <c:pt idx="34">
                  <c:v>33.977544319761115</c:v>
                </c:pt>
                <c:pt idx="35">
                  <c:v>33.853991355414891</c:v>
                </c:pt>
                <c:pt idx="36">
                  <c:v>33.775707470355343</c:v>
                </c:pt>
                <c:pt idx="37">
                  <c:v>33.813832491860396</c:v>
                </c:pt>
                <c:pt idx="38">
                  <c:v>33.725361861333319</c:v>
                </c:pt>
                <c:pt idx="39">
                  <c:v>34.18087142133561</c:v>
                </c:pt>
                <c:pt idx="40">
                  <c:v>34.592669071510272</c:v>
                </c:pt>
                <c:pt idx="41">
                  <c:v>34.88653313754989</c:v>
                </c:pt>
                <c:pt idx="42">
                  <c:v>35.366721378949286</c:v>
                </c:pt>
                <c:pt idx="43">
                  <c:v>35.846069104944156</c:v>
                </c:pt>
                <c:pt idx="44">
                  <c:v>36.132396212351559</c:v>
                </c:pt>
                <c:pt idx="45">
                  <c:v>36.708872042006021</c:v>
                </c:pt>
                <c:pt idx="46">
                  <c:v>37.000003830561624</c:v>
                </c:pt>
                <c:pt idx="47">
                  <c:v>37.225328498076195</c:v>
                </c:pt>
                <c:pt idx="48">
                  <c:v>37.565696209180523</c:v>
                </c:pt>
                <c:pt idx="49">
                  <c:v>37.884744172032306</c:v>
                </c:pt>
                <c:pt idx="50">
                  <c:v>38.258184088607315</c:v>
                </c:pt>
                <c:pt idx="51">
                  <c:v>38.737927606451912</c:v>
                </c:pt>
              </c:numCache>
            </c:numRef>
          </c:val>
          <c:smooth val="0"/>
          <c:extLst>
            <c:ext xmlns:c16="http://schemas.microsoft.com/office/drawing/2014/chart" uri="{C3380CC4-5D6E-409C-BE32-E72D297353CC}">
              <c16:uniqueId val="{00000005-E4B8-445A-A2F1-F193651A51BD}"/>
            </c:ext>
          </c:extLst>
        </c:ser>
        <c:dLbls>
          <c:showLegendKey val="0"/>
          <c:showVal val="0"/>
          <c:showCatName val="0"/>
          <c:showSerName val="0"/>
          <c:showPercent val="0"/>
          <c:showBubbleSize val="0"/>
        </c:dLbls>
        <c:marker val="1"/>
        <c:smooth val="0"/>
        <c:axId val="1407312368"/>
        <c:axId val="1273539936"/>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H$2:$H$2453</c:f>
              <c:numCache>
                <c:formatCode>#,##0.00</c:formatCode>
                <c:ptCount val="52"/>
                <c:pt idx="0">
                  <c:v>0.29841759708900018</c:v>
                </c:pt>
                <c:pt idx="1">
                  <c:v>0.29844375424646186</c:v>
                </c:pt>
                <c:pt idx="2">
                  <c:v>0.29873212587542813</c:v>
                </c:pt>
                <c:pt idx="3">
                  <c:v>0.29370314730846692</c:v>
                </c:pt>
                <c:pt idx="4">
                  <c:v>0.30023569702807384</c:v>
                </c:pt>
                <c:pt idx="5">
                  <c:v>0.29951609052471112</c:v>
                </c:pt>
                <c:pt idx="6">
                  <c:v>0.29822002425930011</c:v>
                </c:pt>
                <c:pt idx="7">
                  <c:v>0.28581105405410567</c:v>
                </c:pt>
                <c:pt idx="8">
                  <c:v>0.29395908129424941</c:v>
                </c:pt>
                <c:pt idx="9">
                  <c:v>0.29229332491972737</c:v>
                </c:pt>
                <c:pt idx="10">
                  <c:v>0.29579066277669624</c:v>
                </c:pt>
                <c:pt idx="11">
                  <c:v>0.29631333839124308</c:v>
                </c:pt>
                <c:pt idx="12">
                  <c:v>0.29824386325746671</c:v>
                </c:pt>
                <c:pt idx="13">
                  <c:v>0.30377961612123633</c:v>
                </c:pt>
                <c:pt idx="14">
                  <c:v>0.46516556678584514</c:v>
                </c:pt>
                <c:pt idx="15">
                  <c:v>0.57266424350409362</c:v>
                </c:pt>
                <c:pt idx="16">
                  <c:v>0.74938209397867328</c:v>
                </c:pt>
                <c:pt idx="17">
                  <c:v>0.84432825697973757</c:v>
                </c:pt>
                <c:pt idx="18">
                  <c:v>0.91708550563110436</c:v>
                </c:pt>
                <c:pt idx="19">
                  <c:v>0.98082833049188589</c:v>
                </c:pt>
                <c:pt idx="20">
                  <c:v>1.011056306955358</c:v>
                </c:pt>
                <c:pt idx="21">
                  <c:v>1.0667784825930073</c:v>
                </c:pt>
                <c:pt idx="22">
                  <c:v>1.1222239680811481</c:v>
                </c:pt>
                <c:pt idx="23">
                  <c:v>1.5060433095362169</c:v>
                </c:pt>
                <c:pt idx="24">
                  <c:v>1.789905892300542</c:v>
                </c:pt>
                <c:pt idx="25">
                  <c:v>2.0245690458905723</c:v>
                </c:pt>
                <c:pt idx="26">
                  <c:v>2.2213846184880786</c:v>
                </c:pt>
                <c:pt idx="27">
                  <c:v>2.3920374019345618</c:v>
                </c:pt>
                <c:pt idx="28">
                  <c:v>2.5414503714833838</c:v>
                </c:pt>
                <c:pt idx="29">
                  <c:v>2.674702046732405</c:v>
                </c:pt>
                <c:pt idx="30">
                  <c:v>2.7935807069300411</c:v>
                </c:pt>
                <c:pt idx="31">
                  <c:v>2.8978632053102724</c:v>
                </c:pt>
                <c:pt idx="32">
                  <c:v>2.9909762875525292</c:v>
                </c:pt>
                <c:pt idx="33">
                  <c:v>3.0690770506035996</c:v>
                </c:pt>
                <c:pt idx="34">
                  <c:v>3.1351082192197852</c:v>
                </c:pt>
                <c:pt idx="35">
                  <c:v>3.1957076560828463</c:v>
                </c:pt>
                <c:pt idx="36">
                  <c:v>3.2455269463201248</c:v>
                </c:pt>
                <c:pt idx="37">
                  <c:v>3.2880552526116289</c:v>
                </c:pt>
                <c:pt idx="38">
                  <c:v>3.3152274545059544</c:v>
                </c:pt>
                <c:pt idx="39">
                  <c:v>3.2973429668077778</c:v>
                </c:pt>
                <c:pt idx="40">
                  <c:v>3.2729573897718822</c:v>
                </c:pt>
                <c:pt idx="41">
                  <c:v>3.2560311824202768</c:v>
                </c:pt>
                <c:pt idx="42">
                  <c:v>3.2326202285102652</c:v>
                </c:pt>
                <c:pt idx="43">
                  <c:v>3.2082985273695468</c:v>
                </c:pt>
                <c:pt idx="44">
                  <c:v>3.1194549881200064</c:v>
                </c:pt>
                <c:pt idx="45">
                  <c:v>3.0267268085841139</c:v>
                </c:pt>
                <c:pt idx="46">
                  <c:v>2.8756596821642089</c:v>
                </c:pt>
                <c:pt idx="47">
                  <c:v>2.7375017523261929</c:v>
                </c:pt>
                <c:pt idx="48">
                  <c:v>2.5935841793959136</c:v>
                </c:pt>
                <c:pt idx="49">
                  <c:v>2.4285217210060339</c:v>
                </c:pt>
                <c:pt idx="50">
                  <c:v>2.2812875734014408</c:v>
                </c:pt>
                <c:pt idx="51">
                  <c:v>2.0341035040468922</c:v>
                </c:pt>
              </c:numCache>
            </c:numRef>
          </c:val>
          <c:smooth val="0"/>
          <c:extLst>
            <c:ext xmlns:c16="http://schemas.microsoft.com/office/drawing/2014/chart" uri="{C3380CC4-5D6E-409C-BE32-E72D297353CC}">
              <c16:uniqueId val="{00000006-E4B8-445A-A2F1-F193651A51BD}"/>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yy\ h:mm</c:formatCode>
                <c:ptCount val="52"/>
                <c:pt idx="0">
                  <c:v>41983.666666666664</c:v>
                </c:pt>
                <c:pt idx="1">
                  <c:v>41983.667361111111</c:v>
                </c:pt>
                <c:pt idx="2">
                  <c:v>41983.668055555558</c:v>
                </c:pt>
                <c:pt idx="3">
                  <c:v>41983.668749999997</c:v>
                </c:pt>
                <c:pt idx="4">
                  <c:v>41983.669444444444</c:v>
                </c:pt>
                <c:pt idx="5">
                  <c:v>41983.670138888891</c:v>
                </c:pt>
                <c:pt idx="6">
                  <c:v>41983.67083333333</c:v>
                </c:pt>
                <c:pt idx="7">
                  <c:v>41983.671527777777</c:v>
                </c:pt>
                <c:pt idx="8">
                  <c:v>41983.672222222223</c:v>
                </c:pt>
                <c:pt idx="9">
                  <c:v>41983.67291666667</c:v>
                </c:pt>
                <c:pt idx="10">
                  <c:v>41983.673611111109</c:v>
                </c:pt>
                <c:pt idx="11">
                  <c:v>41983.674305555556</c:v>
                </c:pt>
                <c:pt idx="12">
                  <c:v>41983.675000000003</c:v>
                </c:pt>
                <c:pt idx="13">
                  <c:v>41983.675694444442</c:v>
                </c:pt>
                <c:pt idx="14">
                  <c:v>41983.676388888889</c:v>
                </c:pt>
                <c:pt idx="15">
                  <c:v>41983.677083333336</c:v>
                </c:pt>
                <c:pt idx="16">
                  <c:v>41983.677777777775</c:v>
                </c:pt>
                <c:pt idx="17">
                  <c:v>41983.678472222222</c:v>
                </c:pt>
                <c:pt idx="18">
                  <c:v>41983.679166666669</c:v>
                </c:pt>
                <c:pt idx="19">
                  <c:v>41983.679861111108</c:v>
                </c:pt>
                <c:pt idx="20">
                  <c:v>41983.680555555555</c:v>
                </c:pt>
                <c:pt idx="21">
                  <c:v>41982</c:v>
                </c:pt>
                <c:pt idx="22">
                  <c:v>41982.000694444447</c:v>
                </c:pt>
                <c:pt idx="23">
                  <c:v>41982.001388888886</c:v>
                </c:pt>
                <c:pt idx="24">
                  <c:v>41982.002083333333</c:v>
                </c:pt>
                <c:pt idx="25">
                  <c:v>41982.00277777778</c:v>
                </c:pt>
                <c:pt idx="26">
                  <c:v>41982.003472222219</c:v>
                </c:pt>
                <c:pt idx="27">
                  <c:v>41982.004166666666</c:v>
                </c:pt>
                <c:pt idx="28">
                  <c:v>41982.004861111112</c:v>
                </c:pt>
                <c:pt idx="29">
                  <c:v>41982.005555555559</c:v>
                </c:pt>
                <c:pt idx="30">
                  <c:v>41982.006249999999</c:v>
                </c:pt>
                <c:pt idx="31">
                  <c:v>41982.006944444445</c:v>
                </c:pt>
                <c:pt idx="32">
                  <c:v>41982.007638888892</c:v>
                </c:pt>
                <c:pt idx="33">
                  <c:v>41982.008333333331</c:v>
                </c:pt>
                <c:pt idx="34">
                  <c:v>41982.009027777778</c:v>
                </c:pt>
                <c:pt idx="35">
                  <c:v>41982.009722222225</c:v>
                </c:pt>
                <c:pt idx="36">
                  <c:v>41982.010416666664</c:v>
                </c:pt>
                <c:pt idx="37">
                  <c:v>41982.011111111111</c:v>
                </c:pt>
                <c:pt idx="38">
                  <c:v>41982.011805555558</c:v>
                </c:pt>
                <c:pt idx="39">
                  <c:v>41982.012499999997</c:v>
                </c:pt>
                <c:pt idx="40">
                  <c:v>41982.013194444444</c:v>
                </c:pt>
                <c:pt idx="41">
                  <c:v>41982.013888888891</c:v>
                </c:pt>
                <c:pt idx="42">
                  <c:v>41982.01458333333</c:v>
                </c:pt>
                <c:pt idx="43">
                  <c:v>41982.015277777777</c:v>
                </c:pt>
                <c:pt idx="44">
                  <c:v>41982.015972222223</c:v>
                </c:pt>
                <c:pt idx="45">
                  <c:v>41982.01666666667</c:v>
                </c:pt>
                <c:pt idx="46">
                  <c:v>41982.017361111109</c:v>
                </c:pt>
                <c:pt idx="47">
                  <c:v>41982.018055555556</c:v>
                </c:pt>
                <c:pt idx="48">
                  <c:v>41982.018750000003</c:v>
                </c:pt>
                <c:pt idx="49">
                  <c:v>41982.019444444442</c:v>
                </c:pt>
                <c:pt idx="50">
                  <c:v>41982.020138888889</c:v>
                </c:pt>
                <c:pt idx="51">
                  <c:v>41982.020833333336</c:v>
                </c:pt>
              </c:numCache>
            </c:numRef>
          </c:cat>
          <c:val>
            <c:numRef>
              <c:f>'DRT Rolling Stdev'!$J$2:$J$2453</c:f>
              <c:numCache>
                <c:formatCode>General</c:formatCode>
                <c:ptCount val="52"/>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numCache>
            </c:numRef>
          </c:val>
          <c:smooth val="0"/>
          <c:extLst>
            <c:ext xmlns:c16="http://schemas.microsoft.com/office/drawing/2014/chart" uri="{C3380CC4-5D6E-409C-BE32-E72D297353CC}">
              <c16:uniqueId val="{00000007-E4B8-445A-A2F1-F193651A51BD}"/>
            </c:ext>
          </c:extLst>
        </c:ser>
        <c:dLbls>
          <c:showLegendKey val="0"/>
          <c:showVal val="0"/>
          <c:showCatName val="0"/>
          <c:showSerName val="0"/>
          <c:showPercent val="0"/>
          <c:showBubbleSize val="0"/>
        </c:dLbls>
        <c:marker val="1"/>
        <c:smooth val="0"/>
        <c:axId val="1394489856"/>
        <c:axId val="1273541600"/>
      </c:lineChart>
      <c:dateAx>
        <c:axId val="1407312368"/>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3539936"/>
        <c:crosses val="autoZero"/>
        <c:auto val="1"/>
        <c:lblOffset val="100"/>
        <c:baseTimeUnit val="days"/>
      </c:dateAx>
      <c:valAx>
        <c:axId val="1273539936"/>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7312368"/>
        <c:crosses val="autoZero"/>
        <c:crossBetween val="between"/>
      </c:valAx>
      <c:valAx>
        <c:axId val="127354160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489856"/>
        <c:crosses val="max"/>
        <c:crossBetween val="between"/>
      </c:valAx>
      <c:dateAx>
        <c:axId val="1394489856"/>
        <c:scaling>
          <c:orientation val="minMax"/>
        </c:scaling>
        <c:delete val="1"/>
        <c:axPos val="b"/>
        <c:numFmt formatCode="m/d/yyyy\ h:mm" sourceLinked="1"/>
        <c:majorTickMark val="out"/>
        <c:minorTickMark val="none"/>
        <c:tickLblPos val="nextTo"/>
        <c:crossAx val="127354160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olling STDEV</a:t>
            </a:r>
            <a:r>
              <a:rPr lang="en-AU" sz="1800" b="1" i="0" baseline="0" dirty="0">
                <a:effectLst/>
              </a:rPr>
              <a:t>)</a:t>
            </a:r>
            <a:endParaRPr lang="en-US" dirty="0">
              <a:effectLst/>
            </a:endParaRPr>
          </a:p>
        </c:rich>
      </c:tx>
      <c:layout>
        <c:manualLayout>
          <c:xMode val="edge"/>
          <c:yMode val="edge"/>
          <c:x val="0.26200534480034704"/>
          <c:y val="2.0595531969617213E-2"/>
        </c:manualLayout>
      </c:layout>
      <c:overlay val="0"/>
      <c:spPr>
        <a:noFill/>
        <a:ln>
          <a:noFill/>
        </a:ln>
        <a:effectLst/>
      </c:spPr>
      <c:txPr>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W$39</c:f>
              <c:strCache>
                <c:ptCount val="1"/>
                <c:pt idx="0">
                  <c:v>Pump Torque </c:v>
                </c:pt>
              </c:strCache>
            </c:strRef>
          </c:tx>
          <c:spPr>
            <a:solidFill>
              <a:schemeClr val="accent6">
                <a:tint val="48000"/>
              </a:schemeClr>
            </a:solidFill>
            <a:ln>
              <a:noFill/>
            </a:ln>
            <a:effectLst/>
          </c:spPr>
          <c:invertIfNegative val="0"/>
          <c:cat>
            <c:strRef>
              <c:f>'Inferential Statistics'!$X$37:$X$38</c:f>
              <c:strCache>
                <c:ptCount val="2"/>
                <c:pt idx="1">
                  <c:v>Correlation Coefficient</c:v>
                </c:pt>
              </c:strCache>
            </c:strRef>
          </c:cat>
          <c:val>
            <c:numRef>
              <c:f>'Inferential Statistics'!$X$39</c:f>
              <c:numCache>
                <c:formatCode>General</c:formatCode>
                <c:ptCount val="1"/>
                <c:pt idx="0">
                  <c:v>0.59726041395457108</c:v>
                </c:pt>
              </c:numCache>
            </c:numRef>
          </c:val>
          <c:extLst>
            <c:ext xmlns:c16="http://schemas.microsoft.com/office/drawing/2014/chart" uri="{C3380CC4-5D6E-409C-BE32-E72D297353CC}">
              <c16:uniqueId val="{00000000-9BE9-413D-A99B-76292A74B42A}"/>
            </c:ext>
          </c:extLst>
        </c:ser>
        <c:ser>
          <c:idx val="1"/>
          <c:order val="1"/>
          <c:tx>
            <c:strRef>
              <c:f>'Inferential Statistics'!$W$40</c:f>
              <c:strCache>
                <c:ptCount val="1"/>
                <c:pt idx="0">
                  <c:v>Ambient Temperature</c:v>
                </c:pt>
              </c:strCache>
            </c:strRef>
          </c:tx>
          <c:spPr>
            <a:solidFill>
              <a:schemeClr val="accent6">
                <a:tint val="65000"/>
              </a:schemeClr>
            </a:solidFill>
            <a:ln>
              <a:noFill/>
            </a:ln>
            <a:effectLst/>
          </c:spPr>
          <c:invertIfNegative val="0"/>
          <c:cat>
            <c:strRef>
              <c:f>'Inferential Statistics'!$X$37:$X$38</c:f>
              <c:strCache>
                <c:ptCount val="2"/>
                <c:pt idx="1">
                  <c:v>Correlation Coefficient</c:v>
                </c:pt>
              </c:strCache>
            </c:strRef>
          </c:cat>
          <c:val>
            <c:numRef>
              <c:f>'Inferential Statistics'!$X$40</c:f>
              <c:numCache>
                <c:formatCode>General</c:formatCode>
                <c:ptCount val="1"/>
                <c:pt idx="0">
                  <c:v>0.60005043132418734</c:v>
                </c:pt>
              </c:numCache>
            </c:numRef>
          </c:val>
          <c:extLst>
            <c:ext xmlns:c16="http://schemas.microsoft.com/office/drawing/2014/chart" uri="{C3380CC4-5D6E-409C-BE32-E72D297353CC}">
              <c16:uniqueId val="{00000001-9BE9-413D-A99B-76292A74B42A}"/>
            </c:ext>
          </c:extLst>
        </c:ser>
        <c:ser>
          <c:idx val="2"/>
          <c:order val="2"/>
          <c:tx>
            <c:strRef>
              <c:f>'Inferential Statistics'!$W$41</c:f>
              <c:strCache>
                <c:ptCount val="1"/>
                <c:pt idx="0">
                  <c:v>Pump Speed (RPM)</c:v>
                </c:pt>
              </c:strCache>
            </c:strRef>
          </c:tx>
          <c:spPr>
            <a:solidFill>
              <a:schemeClr val="accent6">
                <a:tint val="83000"/>
              </a:schemeClr>
            </a:solidFill>
            <a:ln>
              <a:noFill/>
            </a:ln>
            <a:effectLst/>
          </c:spPr>
          <c:invertIfNegative val="0"/>
          <c:cat>
            <c:strRef>
              <c:f>'Inferential Statistics'!$X$37:$X$38</c:f>
              <c:strCache>
                <c:ptCount val="2"/>
                <c:pt idx="1">
                  <c:v>Correlation Coefficient</c:v>
                </c:pt>
              </c:strCache>
            </c:strRef>
          </c:cat>
          <c:val>
            <c:numRef>
              <c:f>'Inferential Statistics'!$X$41</c:f>
              <c:numCache>
                <c:formatCode>General</c:formatCode>
                <c:ptCount val="1"/>
                <c:pt idx="0">
                  <c:v>0.62455590762221425</c:v>
                </c:pt>
              </c:numCache>
            </c:numRef>
          </c:val>
          <c:extLst>
            <c:ext xmlns:c16="http://schemas.microsoft.com/office/drawing/2014/chart" uri="{C3380CC4-5D6E-409C-BE32-E72D297353CC}">
              <c16:uniqueId val="{00000002-9BE9-413D-A99B-76292A74B42A}"/>
            </c:ext>
          </c:extLst>
        </c:ser>
        <c:ser>
          <c:idx val="3"/>
          <c:order val="3"/>
          <c:tx>
            <c:strRef>
              <c:f>'Inferential Statistics'!$W$42</c:f>
              <c:strCache>
                <c:ptCount val="1"/>
                <c:pt idx="0">
                  <c:v>Volumetric Flow Meter 2</c:v>
                </c:pt>
              </c:strCache>
            </c:strRef>
          </c:tx>
          <c:spPr>
            <a:solidFill>
              <a:schemeClr val="accent6"/>
            </a:solidFill>
            <a:ln>
              <a:noFill/>
            </a:ln>
            <a:effectLst/>
          </c:spPr>
          <c:invertIfNegative val="0"/>
          <c:cat>
            <c:strRef>
              <c:f>'Inferential Statistics'!$X$37:$X$38</c:f>
              <c:strCache>
                <c:ptCount val="2"/>
                <c:pt idx="1">
                  <c:v>Correlation Coefficient</c:v>
                </c:pt>
              </c:strCache>
            </c:strRef>
          </c:cat>
          <c:val>
            <c:numRef>
              <c:f>'Inferential Statistics'!$X$42</c:f>
              <c:numCache>
                <c:formatCode>General</c:formatCode>
                <c:ptCount val="1"/>
                <c:pt idx="0">
                  <c:v>0.62592087058373946</c:v>
                </c:pt>
              </c:numCache>
            </c:numRef>
          </c:val>
          <c:extLst>
            <c:ext xmlns:c16="http://schemas.microsoft.com/office/drawing/2014/chart" uri="{C3380CC4-5D6E-409C-BE32-E72D297353CC}">
              <c16:uniqueId val="{00000003-9BE9-413D-A99B-76292A74B42A}"/>
            </c:ext>
          </c:extLst>
        </c:ser>
        <c:ser>
          <c:idx val="4"/>
          <c:order val="4"/>
          <c:tx>
            <c:strRef>
              <c:f>'Inferential Statistics'!$W$43</c:f>
              <c:strCache>
                <c:ptCount val="1"/>
                <c:pt idx="0">
                  <c:v>Pump Efficiency</c:v>
                </c:pt>
              </c:strCache>
            </c:strRef>
          </c:tx>
          <c:spPr>
            <a:solidFill>
              <a:schemeClr val="accent6">
                <a:shade val="82000"/>
              </a:schemeClr>
            </a:solidFill>
            <a:ln>
              <a:noFill/>
            </a:ln>
            <a:effectLst/>
          </c:spPr>
          <c:invertIfNegative val="0"/>
          <c:cat>
            <c:strRef>
              <c:f>'Inferential Statistics'!$X$37:$X$38</c:f>
              <c:strCache>
                <c:ptCount val="2"/>
                <c:pt idx="1">
                  <c:v>Correlation Coefficient</c:v>
                </c:pt>
              </c:strCache>
            </c:strRef>
          </c:cat>
          <c:val>
            <c:numRef>
              <c:f>'Inferential Statistics'!$X$43</c:f>
              <c:numCache>
                <c:formatCode>0.00</c:formatCode>
                <c:ptCount val="1"/>
                <c:pt idx="0">
                  <c:v>0.64355470000000004</c:v>
                </c:pt>
              </c:numCache>
            </c:numRef>
          </c:val>
          <c:extLst>
            <c:ext xmlns:c16="http://schemas.microsoft.com/office/drawing/2014/chart" uri="{C3380CC4-5D6E-409C-BE32-E72D297353CC}">
              <c16:uniqueId val="{00000004-9BE9-413D-A99B-76292A74B42A}"/>
            </c:ext>
          </c:extLst>
        </c:ser>
        <c:ser>
          <c:idx val="5"/>
          <c:order val="5"/>
          <c:tx>
            <c:strRef>
              <c:f>'Inferential Statistics'!$W$44</c:f>
              <c:strCache>
                <c:ptCount val="1"/>
                <c:pt idx="0">
                  <c:v>Volumetric Flow Meter 1</c:v>
                </c:pt>
              </c:strCache>
            </c:strRef>
          </c:tx>
          <c:spPr>
            <a:solidFill>
              <a:schemeClr val="accent6">
                <a:shade val="65000"/>
              </a:schemeClr>
            </a:solidFill>
            <a:ln>
              <a:noFill/>
            </a:ln>
            <a:effectLst/>
          </c:spPr>
          <c:invertIfNegative val="0"/>
          <c:cat>
            <c:strRef>
              <c:f>'Inferential Statistics'!$X$37:$X$38</c:f>
              <c:strCache>
                <c:ptCount val="2"/>
                <c:pt idx="1">
                  <c:v>Correlation Coefficient</c:v>
                </c:pt>
              </c:strCache>
            </c:strRef>
          </c:cat>
          <c:val>
            <c:numRef>
              <c:f>'Inferential Statistics'!$X$44</c:f>
              <c:numCache>
                <c:formatCode>0.00</c:formatCode>
                <c:ptCount val="1"/>
                <c:pt idx="0">
                  <c:v>0.64488041600000001</c:v>
                </c:pt>
              </c:numCache>
            </c:numRef>
          </c:val>
          <c:extLst>
            <c:ext xmlns:c16="http://schemas.microsoft.com/office/drawing/2014/chart" uri="{C3380CC4-5D6E-409C-BE32-E72D297353CC}">
              <c16:uniqueId val="{00000005-9BE9-413D-A99B-76292A74B42A}"/>
            </c:ext>
          </c:extLst>
        </c:ser>
        <c:ser>
          <c:idx val="6"/>
          <c:order val="6"/>
          <c:tx>
            <c:strRef>
              <c:f>'Inferential Statistics'!$W$45</c:f>
              <c:strCache>
                <c:ptCount val="1"/>
                <c:pt idx="0">
                  <c:v>Horse Power</c:v>
                </c:pt>
              </c:strCache>
            </c:strRef>
          </c:tx>
          <c:spPr>
            <a:solidFill>
              <a:schemeClr val="accent6">
                <a:shade val="47000"/>
              </a:schemeClr>
            </a:solidFill>
            <a:ln>
              <a:noFill/>
            </a:ln>
            <a:effectLst/>
          </c:spPr>
          <c:invertIfNegative val="0"/>
          <c:cat>
            <c:strRef>
              <c:f>'Inferential Statistics'!$X$37:$X$38</c:f>
              <c:strCache>
                <c:ptCount val="2"/>
                <c:pt idx="1">
                  <c:v>Correlation Coefficient</c:v>
                </c:pt>
              </c:strCache>
            </c:strRef>
          </c:cat>
          <c:val>
            <c:numRef>
              <c:f>'Inferential Statistics'!$X$45</c:f>
              <c:numCache>
                <c:formatCode>0.00</c:formatCode>
                <c:ptCount val="1"/>
                <c:pt idx="0">
                  <c:v>0.69010000000000005</c:v>
                </c:pt>
              </c:numCache>
            </c:numRef>
          </c:val>
          <c:extLst>
            <c:ext xmlns:c16="http://schemas.microsoft.com/office/drawing/2014/chart" uri="{C3380CC4-5D6E-409C-BE32-E72D297353CC}">
              <c16:uniqueId val="{00000006-9BE9-413D-A99B-76292A74B42A}"/>
            </c:ext>
          </c:extLst>
        </c:ser>
        <c:dLbls>
          <c:showLegendKey val="0"/>
          <c:showVal val="0"/>
          <c:showCatName val="0"/>
          <c:showSerName val="0"/>
          <c:showPercent val="0"/>
          <c:showBubbleSize val="0"/>
        </c:dLbls>
        <c:gapWidth val="444"/>
        <c:overlap val="-90"/>
        <c:axId val="1001428576"/>
        <c:axId val="751302160"/>
      </c:barChart>
      <c:catAx>
        <c:axId val="1001428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51302160"/>
        <c:crosses val="autoZero"/>
        <c:auto val="1"/>
        <c:lblAlgn val="ctr"/>
        <c:lblOffset val="100"/>
        <c:noMultiLvlLbl val="0"/>
      </c:catAx>
      <c:valAx>
        <c:axId val="751302160"/>
        <c:scaling>
          <c:orientation val="minMax"/>
        </c:scaling>
        <c:delete val="1"/>
        <c:axPos val="l"/>
        <c:numFmt formatCode="General" sourceLinked="1"/>
        <c:majorTickMark val="none"/>
        <c:minorTickMark val="none"/>
        <c:tickLblPos val="nextTo"/>
        <c:crossAx val="10014285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u="none" strike="noStrike" baseline="0" dirty="0">
                <a:effectLst/>
              </a:rPr>
              <a:t>Correlation Strength Associated With Pump Failure (Rolling Mea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M$38</c:f>
              <c:strCache>
                <c:ptCount val="1"/>
                <c:pt idx="0">
                  <c:v>Volumetric Flow Meter 2</c:v>
                </c:pt>
              </c:strCache>
            </c:strRef>
          </c:tx>
          <c:spPr>
            <a:solidFill>
              <a:schemeClr val="accent6">
                <a:tint val="48000"/>
              </a:schemeClr>
            </a:solidFill>
            <a:ln>
              <a:noFill/>
            </a:ln>
            <a:effectLst/>
          </c:spPr>
          <c:invertIfNegative val="0"/>
          <c:cat>
            <c:strRef>
              <c:f>'Inferential Statistics'!$N$37</c:f>
              <c:strCache>
                <c:ptCount val="1"/>
                <c:pt idx="0">
                  <c:v>Rolling Mean (30 Minute) Correlation Coefficient</c:v>
                </c:pt>
              </c:strCache>
            </c:strRef>
          </c:cat>
          <c:val>
            <c:numRef>
              <c:f>'Inferential Statistics'!$N$38</c:f>
              <c:numCache>
                <c:formatCode>General</c:formatCode>
                <c:ptCount val="1"/>
                <c:pt idx="0">
                  <c:v>-0.69773141629733393</c:v>
                </c:pt>
              </c:numCache>
            </c:numRef>
          </c:val>
          <c:extLst>
            <c:ext xmlns:c16="http://schemas.microsoft.com/office/drawing/2014/chart" uri="{C3380CC4-5D6E-409C-BE32-E72D297353CC}">
              <c16:uniqueId val="{00000000-1A74-49A4-9FDB-AB22D8750A38}"/>
            </c:ext>
          </c:extLst>
        </c:ser>
        <c:ser>
          <c:idx val="1"/>
          <c:order val="1"/>
          <c:tx>
            <c:strRef>
              <c:f>'Inferential Statistics'!$M$39</c:f>
              <c:strCache>
                <c:ptCount val="1"/>
                <c:pt idx="0">
                  <c:v>Pump Efficiency</c:v>
                </c:pt>
              </c:strCache>
            </c:strRef>
          </c:tx>
          <c:spPr>
            <a:solidFill>
              <a:schemeClr val="accent6">
                <a:tint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39</c:f>
              <c:numCache>
                <c:formatCode>General</c:formatCode>
                <c:ptCount val="1"/>
                <c:pt idx="0">
                  <c:v>-0.69502783073051644</c:v>
                </c:pt>
              </c:numCache>
            </c:numRef>
          </c:val>
          <c:extLst>
            <c:ext xmlns:c16="http://schemas.microsoft.com/office/drawing/2014/chart" uri="{C3380CC4-5D6E-409C-BE32-E72D297353CC}">
              <c16:uniqueId val="{00000001-1A74-49A4-9FDB-AB22D8750A38}"/>
            </c:ext>
          </c:extLst>
        </c:ser>
        <c:ser>
          <c:idx val="2"/>
          <c:order val="2"/>
          <c:tx>
            <c:strRef>
              <c:f>'Inferential Statistics'!$M$40</c:f>
              <c:strCache>
                <c:ptCount val="1"/>
                <c:pt idx="0">
                  <c:v>Volumetric Flow Meter 1</c:v>
                </c:pt>
              </c:strCache>
            </c:strRef>
          </c:tx>
          <c:spPr>
            <a:solidFill>
              <a:schemeClr val="accent6">
                <a:tint val="83000"/>
              </a:schemeClr>
            </a:solidFill>
            <a:ln>
              <a:noFill/>
            </a:ln>
            <a:effectLst/>
          </c:spPr>
          <c:invertIfNegative val="0"/>
          <c:cat>
            <c:strRef>
              <c:f>'Inferential Statistics'!$N$37</c:f>
              <c:strCache>
                <c:ptCount val="1"/>
                <c:pt idx="0">
                  <c:v>Rolling Mean (30 Minute) Correlation Coefficient</c:v>
                </c:pt>
              </c:strCache>
            </c:strRef>
          </c:cat>
          <c:val>
            <c:numRef>
              <c:f>'Inferential Statistics'!$N$40</c:f>
              <c:numCache>
                <c:formatCode>General</c:formatCode>
                <c:ptCount val="1"/>
                <c:pt idx="0">
                  <c:v>-0.69242513840191577</c:v>
                </c:pt>
              </c:numCache>
            </c:numRef>
          </c:val>
          <c:extLst>
            <c:ext xmlns:c16="http://schemas.microsoft.com/office/drawing/2014/chart" uri="{C3380CC4-5D6E-409C-BE32-E72D297353CC}">
              <c16:uniqueId val="{00000002-1A74-49A4-9FDB-AB22D8750A38}"/>
            </c:ext>
          </c:extLst>
        </c:ser>
        <c:ser>
          <c:idx val="3"/>
          <c:order val="3"/>
          <c:tx>
            <c:strRef>
              <c:f>'Inferential Statistics'!$M$41</c:f>
              <c:strCache>
                <c:ptCount val="1"/>
                <c:pt idx="0">
                  <c:v>Ambient Temperature</c:v>
                </c:pt>
              </c:strCache>
            </c:strRef>
          </c:tx>
          <c:spPr>
            <a:solidFill>
              <a:schemeClr val="accent6"/>
            </a:solidFill>
            <a:ln>
              <a:noFill/>
            </a:ln>
            <a:effectLst/>
          </c:spPr>
          <c:invertIfNegative val="0"/>
          <c:cat>
            <c:strRef>
              <c:f>'Inferential Statistics'!$N$37</c:f>
              <c:strCache>
                <c:ptCount val="1"/>
                <c:pt idx="0">
                  <c:v>Rolling Mean (30 Minute) Correlation Coefficient</c:v>
                </c:pt>
              </c:strCache>
            </c:strRef>
          </c:cat>
          <c:val>
            <c:numRef>
              <c:f>'Inferential Statistics'!$N$41</c:f>
              <c:numCache>
                <c:formatCode>General</c:formatCode>
                <c:ptCount val="1"/>
                <c:pt idx="0">
                  <c:v>-0.30261553525837848</c:v>
                </c:pt>
              </c:numCache>
            </c:numRef>
          </c:val>
          <c:extLst>
            <c:ext xmlns:c16="http://schemas.microsoft.com/office/drawing/2014/chart" uri="{C3380CC4-5D6E-409C-BE32-E72D297353CC}">
              <c16:uniqueId val="{00000003-1A74-49A4-9FDB-AB22D8750A38}"/>
            </c:ext>
          </c:extLst>
        </c:ser>
        <c:ser>
          <c:idx val="4"/>
          <c:order val="4"/>
          <c:tx>
            <c:strRef>
              <c:f>'Inferential Statistics'!$M$42</c:f>
              <c:strCache>
                <c:ptCount val="1"/>
                <c:pt idx="0">
                  <c:v>Pump Torque </c:v>
                </c:pt>
              </c:strCache>
            </c:strRef>
          </c:tx>
          <c:spPr>
            <a:solidFill>
              <a:schemeClr val="accent6">
                <a:shade val="82000"/>
              </a:schemeClr>
            </a:solidFill>
            <a:ln>
              <a:noFill/>
            </a:ln>
            <a:effectLst/>
          </c:spPr>
          <c:invertIfNegative val="0"/>
          <c:cat>
            <c:strRef>
              <c:f>'Inferential Statistics'!$N$37</c:f>
              <c:strCache>
                <c:ptCount val="1"/>
                <c:pt idx="0">
                  <c:v>Rolling Mean (30 Minute) Correlation Coefficient</c:v>
                </c:pt>
              </c:strCache>
            </c:strRef>
          </c:cat>
          <c:val>
            <c:numRef>
              <c:f>'Inferential Statistics'!$N$42</c:f>
              <c:numCache>
                <c:formatCode>General</c:formatCode>
                <c:ptCount val="1"/>
                <c:pt idx="0">
                  <c:v>-0.2159374408882955</c:v>
                </c:pt>
              </c:numCache>
            </c:numRef>
          </c:val>
          <c:extLst>
            <c:ext xmlns:c16="http://schemas.microsoft.com/office/drawing/2014/chart" uri="{C3380CC4-5D6E-409C-BE32-E72D297353CC}">
              <c16:uniqueId val="{00000004-1A74-49A4-9FDB-AB22D8750A38}"/>
            </c:ext>
          </c:extLst>
        </c:ser>
        <c:ser>
          <c:idx val="5"/>
          <c:order val="5"/>
          <c:tx>
            <c:strRef>
              <c:f>'Inferential Statistics'!$M$43</c:f>
              <c:strCache>
                <c:ptCount val="1"/>
                <c:pt idx="0">
                  <c:v>Pump Speed (RPM)</c:v>
                </c:pt>
              </c:strCache>
            </c:strRef>
          </c:tx>
          <c:spPr>
            <a:solidFill>
              <a:schemeClr val="accent6">
                <a:shade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43</c:f>
              <c:numCache>
                <c:formatCode>General</c:formatCode>
                <c:ptCount val="1"/>
                <c:pt idx="0">
                  <c:v>-0.18415962170921643</c:v>
                </c:pt>
              </c:numCache>
            </c:numRef>
          </c:val>
          <c:extLst>
            <c:ext xmlns:c16="http://schemas.microsoft.com/office/drawing/2014/chart" uri="{C3380CC4-5D6E-409C-BE32-E72D297353CC}">
              <c16:uniqueId val="{00000005-1A74-49A4-9FDB-AB22D8750A38}"/>
            </c:ext>
          </c:extLst>
        </c:ser>
        <c:ser>
          <c:idx val="6"/>
          <c:order val="6"/>
          <c:tx>
            <c:strRef>
              <c:f>'Inferential Statistics'!$M$44</c:f>
              <c:strCache>
                <c:ptCount val="1"/>
                <c:pt idx="0">
                  <c:v>Horse Power</c:v>
                </c:pt>
              </c:strCache>
            </c:strRef>
          </c:tx>
          <c:spPr>
            <a:solidFill>
              <a:schemeClr val="accent6">
                <a:shade val="47000"/>
              </a:schemeClr>
            </a:solidFill>
            <a:ln>
              <a:noFill/>
            </a:ln>
            <a:effectLst/>
          </c:spPr>
          <c:invertIfNegative val="0"/>
          <c:cat>
            <c:strRef>
              <c:f>'Inferential Statistics'!$N$37</c:f>
              <c:strCache>
                <c:ptCount val="1"/>
                <c:pt idx="0">
                  <c:v>Rolling Mean (30 Minute) Correlation Coefficient</c:v>
                </c:pt>
              </c:strCache>
            </c:strRef>
          </c:cat>
          <c:val>
            <c:numRef>
              <c:f>'Inferential Statistics'!$N$44</c:f>
              <c:numCache>
                <c:formatCode>General</c:formatCode>
                <c:ptCount val="1"/>
                <c:pt idx="0">
                  <c:v>0.21805064054009471</c:v>
                </c:pt>
              </c:numCache>
            </c:numRef>
          </c:val>
          <c:extLst>
            <c:ext xmlns:c16="http://schemas.microsoft.com/office/drawing/2014/chart" uri="{C3380CC4-5D6E-409C-BE32-E72D297353CC}">
              <c16:uniqueId val="{00000006-1A74-49A4-9FDB-AB22D8750A38}"/>
            </c:ext>
          </c:extLst>
        </c:ser>
        <c:dLbls>
          <c:showLegendKey val="0"/>
          <c:showVal val="0"/>
          <c:showCatName val="0"/>
          <c:showSerName val="0"/>
          <c:showPercent val="0"/>
          <c:showBubbleSize val="0"/>
        </c:dLbls>
        <c:gapWidth val="219"/>
        <c:overlap val="-27"/>
        <c:axId val="469005568"/>
        <c:axId val="831360240"/>
      </c:barChart>
      <c:catAx>
        <c:axId val="469005568"/>
        <c:scaling>
          <c:orientation val="minMax"/>
        </c:scaling>
        <c:delete val="1"/>
        <c:axPos val="b"/>
        <c:numFmt formatCode="General" sourceLinked="1"/>
        <c:majorTickMark val="none"/>
        <c:minorTickMark val="none"/>
        <c:tickLblPos val="nextTo"/>
        <c:crossAx val="831360240"/>
        <c:crosses val="autoZero"/>
        <c:auto val="1"/>
        <c:lblAlgn val="ctr"/>
        <c:lblOffset val="100"/>
        <c:noMultiLvlLbl val="0"/>
      </c:catAx>
      <c:valAx>
        <c:axId val="831360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005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AW DATA</a:t>
            </a:r>
            <a:r>
              <a:rPr lang="en-AU" sz="1800" b="1" i="0" baseline="0" dirty="0">
                <a:effectLst/>
              </a:rPr>
              <a:t>)</a:t>
            </a:r>
            <a:endParaRPr lang="en-US" dirty="0">
              <a:effectLst/>
            </a:endParaRPr>
          </a:p>
        </c:rich>
      </c:tx>
      <c:layout>
        <c:manualLayout>
          <c:xMode val="edge"/>
          <c:yMode val="edge"/>
          <c:x val="9.9562335958005246E-2"/>
          <c:y val="2.3148148148148147E-2"/>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A$39</c:f>
              <c:strCache>
                <c:ptCount val="1"/>
                <c:pt idx="0">
                  <c:v>Volumetric Flow Meter 2</c:v>
                </c:pt>
              </c:strCache>
            </c:strRef>
          </c:tx>
          <c:spPr>
            <a:solidFill>
              <a:schemeClr val="accent6">
                <a:tint val="48000"/>
              </a:schemeClr>
            </a:solidFill>
            <a:ln>
              <a:noFill/>
            </a:ln>
            <a:effectLst/>
          </c:spPr>
          <c:invertIfNegative val="0"/>
          <c:dLbls>
            <c:dLbl>
              <c:idx val="0"/>
              <c:layout>
                <c:manualLayout>
                  <c:x val="2.7777777777777779E-3"/>
                  <c:y val="0.23611111111111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39</c:f>
              <c:numCache>
                <c:formatCode>General</c:formatCode>
                <c:ptCount val="1"/>
                <c:pt idx="0">
                  <c:v>-0.11211471983758535</c:v>
                </c:pt>
              </c:numCache>
            </c:numRef>
          </c:val>
          <c:extLst>
            <c:ext xmlns:c16="http://schemas.microsoft.com/office/drawing/2014/chart" uri="{C3380CC4-5D6E-409C-BE32-E72D297353CC}">
              <c16:uniqueId val="{00000000-73A9-4F52-A271-135F8A5F973D}"/>
            </c:ext>
          </c:extLst>
        </c:ser>
        <c:ser>
          <c:idx val="1"/>
          <c:order val="1"/>
          <c:tx>
            <c:strRef>
              <c:f>'Inferential Statistics'!$A$40</c:f>
              <c:strCache>
                <c:ptCount val="1"/>
                <c:pt idx="0">
                  <c:v>Pump Efficiency</c:v>
                </c:pt>
              </c:strCache>
            </c:strRef>
          </c:tx>
          <c:spPr>
            <a:solidFill>
              <a:schemeClr val="accent6">
                <a:tint val="65000"/>
              </a:schemeClr>
            </a:solidFill>
            <a:ln>
              <a:noFill/>
            </a:ln>
            <a:effectLst/>
          </c:spPr>
          <c:invertIfNegative val="0"/>
          <c:dLbls>
            <c:dLbl>
              <c:idx val="0"/>
              <c:layout>
                <c:manualLayout>
                  <c:x val="-5.0925337632079971E-17"/>
                  <c:y val="0.208333333333333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0</c:f>
              <c:numCache>
                <c:formatCode>General</c:formatCode>
                <c:ptCount val="1"/>
                <c:pt idx="0">
                  <c:v>-0.10268435123641827</c:v>
                </c:pt>
              </c:numCache>
            </c:numRef>
          </c:val>
          <c:extLst>
            <c:ext xmlns:c16="http://schemas.microsoft.com/office/drawing/2014/chart" uri="{C3380CC4-5D6E-409C-BE32-E72D297353CC}">
              <c16:uniqueId val="{00000001-73A9-4F52-A271-135F8A5F973D}"/>
            </c:ext>
          </c:extLst>
        </c:ser>
        <c:ser>
          <c:idx val="2"/>
          <c:order val="2"/>
          <c:tx>
            <c:strRef>
              <c:f>'Inferential Statistics'!$A$41</c:f>
              <c:strCache>
                <c:ptCount val="1"/>
                <c:pt idx="0">
                  <c:v>Volumetric Flow Meter 1</c:v>
                </c:pt>
              </c:strCache>
            </c:strRef>
          </c:tx>
          <c:spPr>
            <a:solidFill>
              <a:schemeClr val="accent6">
                <a:tint val="83000"/>
              </a:schemeClr>
            </a:solidFill>
            <a:ln>
              <a:noFill/>
            </a:ln>
            <a:effectLst/>
          </c:spPr>
          <c:invertIfNegative val="0"/>
          <c:dLbls>
            <c:dLbl>
              <c:idx val="0"/>
              <c:layout>
                <c:manualLayout>
                  <c:x val="0"/>
                  <c:y val="0.2037037037037037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1</c:f>
              <c:numCache>
                <c:formatCode>General</c:formatCode>
                <c:ptCount val="1"/>
                <c:pt idx="0">
                  <c:v>-0.10250831660615596</c:v>
                </c:pt>
              </c:numCache>
            </c:numRef>
          </c:val>
          <c:extLst>
            <c:ext xmlns:c16="http://schemas.microsoft.com/office/drawing/2014/chart" uri="{C3380CC4-5D6E-409C-BE32-E72D297353CC}">
              <c16:uniqueId val="{00000002-73A9-4F52-A271-135F8A5F973D}"/>
            </c:ext>
          </c:extLst>
        </c:ser>
        <c:ser>
          <c:idx val="3"/>
          <c:order val="3"/>
          <c:tx>
            <c:strRef>
              <c:f>'Inferential Statistics'!$A$42</c:f>
              <c:strCache>
                <c:ptCount val="1"/>
                <c:pt idx="0">
                  <c:v>Ambient Temperature</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2</c:f>
              <c:numCache>
                <c:formatCode>General</c:formatCode>
                <c:ptCount val="1"/>
                <c:pt idx="0">
                  <c:v>0.20794584017208328</c:v>
                </c:pt>
              </c:numCache>
            </c:numRef>
          </c:val>
          <c:extLst>
            <c:ext xmlns:c16="http://schemas.microsoft.com/office/drawing/2014/chart" uri="{C3380CC4-5D6E-409C-BE32-E72D297353CC}">
              <c16:uniqueId val="{00000003-73A9-4F52-A271-135F8A5F973D}"/>
            </c:ext>
          </c:extLst>
        </c:ser>
        <c:ser>
          <c:idx val="4"/>
          <c:order val="4"/>
          <c:tx>
            <c:strRef>
              <c:f>'Inferential Statistics'!$A$43</c:f>
              <c:strCache>
                <c:ptCount val="1"/>
                <c:pt idx="0">
                  <c:v>Pump Torque </c:v>
                </c:pt>
              </c:strCache>
            </c:strRef>
          </c:tx>
          <c:spPr>
            <a:solidFill>
              <a:schemeClr val="accent6">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3</c:f>
              <c:numCache>
                <c:formatCode>General</c:formatCode>
                <c:ptCount val="1"/>
                <c:pt idx="0">
                  <c:v>0.23319270601019931</c:v>
                </c:pt>
              </c:numCache>
            </c:numRef>
          </c:val>
          <c:extLst>
            <c:ext xmlns:c16="http://schemas.microsoft.com/office/drawing/2014/chart" uri="{C3380CC4-5D6E-409C-BE32-E72D297353CC}">
              <c16:uniqueId val="{00000004-73A9-4F52-A271-135F8A5F973D}"/>
            </c:ext>
          </c:extLst>
        </c:ser>
        <c:ser>
          <c:idx val="5"/>
          <c:order val="5"/>
          <c:tx>
            <c:strRef>
              <c:f>'Inferential Statistics'!$A$44</c:f>
              <c:strCache>
                <c:ptCount val="1"/>
                <c:pt idx="0">
                  <c:v>Pump Speed (RPM)</c:v>
                </c:pt>
              </c:strCache>
            </c:strRef>
          </c:tx>
          <c:spPr>
            <a:solidFill>
              <a:schemeClr val="accent6">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4</c:f>
              <c:numCache>
                <c:formatCode>General</c:formatCode>
                <c:ptCount val="1"/>
                <c:pt idx="0">
                  <c:v>0.26001606184661846</c:v>
                </c:pt>
              </c:numCache>
            </c:numRef>
          </c:val>
          <c:extLst>
            <c:ext xmlns:c16="http://schemas.microsoft.com/office/drawing/2014/chart" uri="{C3380CC4-5D6E-409C-BE32-E72D297353CC}">
              <c16:uniqueId val="{00000005-73A9-4F52-A271-135F8A5F973D}"/>
            </c:ext>
          </c:extLst>
        </c:ser>
        <c:ser>
          <c:idx val="6"/>
          <c:order val="6"/>
          <c:tx>
            <c:strRef>
              <c:f>'Inferential Statistics'!$A$45</c:f>
              <c:strCache>
                <c:ptCount val="1"/>
                <c:pt idx="0">
                  <c:v>Horse Power</c:v>
                </c:pt>
              </c:strCache>
            </c:strRef>
          </c:tx>
          <c:spPr>
            <a:solidFill>
              <a:schemeClr val="accent6">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5</c:f>
              <c:numCache>
                <c:formatCode>General</c:formatCode>
                <c:ptCount val="1"/>
                <c:pt idx="0">
                  <c:v>0.42184407404709412</c:v>
                </c:pt>
              </c:numCache>
            </c:numRef>
          </c:val>
          <c:extLst>
            <c:ext xmlns:c16="http://schemas.microsoft.com/office/drawing/2014/chart" uri="{C3380CC4-5D6E-409C-BE32-E72D297353CC}">
              <c16:uniqueId val="{00000006-73A9-4F52-A271-135F8A5F973D}"/>
            </c:ext>
          </c:extLst>
        </c:ser>
        <c:dLbls>
          <c:dLblPos val="outEnd"/>
          <c:showLegendKey val="0"/>
          <c:showVal val="1"/>
          <c:showCatName val="0"/>
          <c:showSerName val="0"/>
          <c:showPercent val="0"/>
          <c:showBubbleSize val="0"/>
        </c:dLbls>
        <c:gapWidth val="444"/>
        <c:overlap val="-90"/>
        <c:axId val="259666400"/>
        <c:axId val="955586800"/>
      </c:barChart>
      <c:catAx>
        <c:axId val="259666400"/>
        <c:scaling>
          <c:orientation val="minMax"/>
        </c:scaling>
        <c:delete val="1"/>
        <c:axPos val="b"/>
        <c:numFmt formatCode="General" sourceLinked="1"/>
        <c:majorTickMark val="none"/>
        <c:minorTickMark val="none"/>
        <c:tickLblPos val="nextTo"/>
        <c:crossAx val="955586800"/>
        <c:crosses val="autoZero"/>
        <c:auto val="1"/>
        <c:lblAlgn val="ctr"/>
        <c:lblOffset val="100"/>
        <c:noMultiLvlLbl val="0"/>
      </c:catAx>
      <c:valAx>
        <c:axId val="95558680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596664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Ranking of variables</a:t>
            </a:r>
          </a:p>
        </c:rich>
      </c:tx>
      <c:layout>
        <c:manualLayout>
          <c:xMode val="edge"/>
          <c:yMode val="edge"/>
          <c:x val="0.28781933508311464"/>
          <c:y val="1.4957210600351812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L$77</c:f>
              <c:strCache>
                <c:ptCount val="1"/>
                <c:pt idx="0">
                  <c:v>Horse Power</c:v>
                </c:pt>
              </c:strCache>
            </c:strRef>
          </c:tx>
          <c:spPr>
            <a:solidFill>
              <a:schemeClr val="accent5">
                <a:tint val="48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7</c:f>
              <c:numCache>
                <c:formatCode>General</c:formatCode>
                <c:ptCount val="1"/>
                <c:pt idx="0">
                  <c:v>1</c:v>
                </c:pt>
              </c:numCache>
            </c:numRef>
          </c:val>
          <c:extLst>
            <c:ext xmlns:c16="http://schemas.microsoft.com/office/drawing/2014/chart" uri="{C3380CC4-5D6E-409C-BE32-E72D297353CC}">
              <c16:uniqueId val="{00000000-FFCC-4859-8227-E25884EBAE30}"/>
            </c:ext>
          </c:extLst>
        </c:ser>
        <c:ser>
          <c:idx val="1"/>
          <c:order val="1"/>
          <c:tx>
            <c:strRef>
              <c:f>'Inferential Statistics'!$L$78</c:f>
              <c:strCache>
                <c:ptCount val="1"/>
                <c:pt idx="0">
                  <c:v>Volumetric Flow Meter 2</c:v>
                </c:pt>
              </c:strCache>
            </c:strRef>
          </c:tx>
          <c:spPr>
            <a:solidFill>
              <a:schemeClr val="accent5">
                <a:tint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8</c:f>
              <c:numCache>
                <c:formatCode>General</c:formatCode>
                <c:ptCount val="1"/>
                <c:pt idx="0">
                  <c:v>2</c:v>
                </c:pt>
              </c:numCache>
            </c:numRef>
          </c:val>
          <c:extLst>
            <c:ext xmlns:c16="http://schemas.microsoft.com/office/drawing/2014/chart" uri="{C3380CC4-5D6E-409C-BE32-E72D297353CC}">
              <c16:uniqueId val="{00000001-FFCC-4859-8227-E25884EBAE30}"/>
            </c:ext>
          </c:extLst>
        </c:ser>
        <c:ser>
          <c:idx val="2"/>
          <c:order val="2"/>
          <c:tx>
            <c:strRef>
              <c:f>'Inferential Statistics'!$L$79</c:f>
              <c:strCache>
                <c:ptCount val="1"/>
                <c:pt idx="0">
                  <c:v>Pump Efficiency</c:v>
                </c:pt>
              </c:strCache>
            </c:strRef>
          </c:tx>
          <c:spPr>
            <a:solidFill>
              <a:schemeClr val="accent5">
                <a:tint val="83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79</c:f>
              <c:numCache>
                <c:formatCode>General</c:formatCode>
                <c:ptCount val="1"/>
                <c:pt idx="0">
                  <c:v>3</c:v>
                </c:pt>
              </c:numCache>
            </c:numRef>
          </c:val>
          <c:extLst>
            <c:ext xmlns:c16="http://schemas.microsoft.com/office/drawing/2014/chart" uri="{C3380CC4-5D6E-409C-BE32-E72D297353CC}">
              <c16:uniqueId val="{00000002-FFCC-4859-8227-E25884EBAE30}"/>
            </c:ext>
          </c:extLst>
        </c:ser>
        <c:ser>
          <c:idx val="3"/>
          <c:order val="3"/>
          <c:tx>
            <c:strRef>
              <c:f>'Inferential Statistics'!$L$80</c:f>
              <c:strCache>
                <c:ptCount val="1"/>
                <c:pt idx="0">
                  <c:v>Pump Torque </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0</c:f>
              <c:numCache>
                <c:formatCode>General</c:formatCode>
                <c:ptCount val="1"/>
                <c:pt idx="0">
                  <c:v>4</c:v>
                </c:pt>
              </c:numCache>
            </c:numRef>
          </c:val>
          <c:extLst>
            <c:ext xmlns:c16="http://schemas.microsoft.com/office/drawing/2014/chart" uri="{C3380CC4-5D6E-409C-BE32-E72D297353CC}">
              <c16:uniqueId val="{00000003-FFCC-4859-8227-E25884EBAE30}"/>
            </c:ext>
          </c:extLst>
        </c:ser>
        <c:ser>
          <c:idx val="4"/>
          <c:order val="4"/>
          <c:tx>
            <c:strRef>
              <c:f>'Inferential Statistics'!$L$81</c:f>
              <c:strCache>
                <c:ptCount val="1"/>
                <c:pt idx="0">
                  <c:v>Pump Speed (RPM)</c:v>
                </c:pt>
              </c:strCache>
            </c:strRef>
          </c:tx>
          <c:spPr>
            <a:solidFill>
              <a:schemeClr val="accent5">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1</c:f>
              <c:numCache>
                <c:formatCode>General</c:formatCode>
                <c:ptCount val="1"/>
                <c:pt idx="0">
                  <c:v>5</c:v>
                </c:pt>
              </c:numCache>
            </c:numRef>
          </c:val>
          <c:extLst>
            <c:ext xmlns:c16="http://schemas.microsoft.com/office/drawing/2014/chart" uri="{C3380CC4-5D6E-409C-BE32-E72D297353CC}">
              <c16:uniqueId val="{00000004-FFCC-4859-8227-E25884EBAE30}"/>
            </c:ext>
          </c:extLst>
        </c:ser>
        <c:ser>
          <c:idx val="5"/>
          <c:order val="5"/>
          <c:tx>
            <c:strRef>
              <c:f>'Inferential Statistics'!$L$82</c:f>
              <c:strCache>
                <c:ptCount val="1"/>
                <c:pt idx="0">
                  <c:v>Ambient Temperature</c:v>
                </c:pt>
              </c:strCache>
            </c:strRef>
          </c:tx>
          <c:spPr>
            <a:solidFill>
              <a:schemeClr val="accent5">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2</c:f>
              <c:numCache>
                <c:formatCode>General</c:formatCode>
                <c:ptCount val="1"/>
                <c:pt idx="0">
                  <c:v>6</c:v>
                </c:pt>
              </c:numCache>
            </c:numRef>
          </c:val>
          <c:extLst>
            <c:ext xmlns:c16="http://schemas.microsoft.com/office/drawing/2014/chart" uri="{C3380CC4-5D6E-409C-BE32-E72D297353CC}">
              <c16:uniqueId val="{00000005-FFCC-4859-8227-E25884EBAE30}"/>
            </c:ext>
          </c:extLst>
        </c:ser>
        <c:ser>
          <c:idx val="6"/>
          <c:order val="6"/>
          <c:tx>
            <c:strRef>
              <c:f>'Inferential Statistics'!$L$83</c:f>
              <c:strCache>
                <c:ptCount val="1"/>
                <c:pt idx="0">
                  <c:v>Volumetric Flow Meter 1</c:v>
                </c:pt>
              </c:strCache>
            </c:strRef>
          </c:tx>
          <c:spPr>
            <a:solidFill>
              <a:schemeClr val="accent5">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val>
            <c:numRef>
              <c:f>'Inferential Statistics'!$M$83</c:f>
              <c:numCache>
                <c:formatCode>General</c:formatCode>
                <c:ptCount val="1"/>
                <c:pt idx="0">
                  <c:v>7</c:v>
                </c:pt>
              </c:numCache>
            </c:numRef>
          </c:val>
          <c:extLst>
            <c:ext xmlns:c16="http://schemas.microsoft.com/office/drawing/2014/chart" uri="{C3380CC4-5D6E-409C-BE32-E72D297353CC}">
              <c16:uniqueId val="{00000006-FFCC-4859-8227-E25884EBAE30}"/>
            </c:ext>
          </c:extLst>
        </c:ser>
        <c:dLbls>
          <c:dLblPos val="outEnd"/>
          <c:showLegendKey val="0"/>
          <c:showVal val="1"/>
          <c:showCatName val="0"/>
          <c:showSerName val="0"/>
          <c:showPercent val="0"/>
          <c:showBubbleSize val="0"/>
        </c:dLbls>
        <c:gapWidth val="444"/>
        <c:overlap val="-90"/>
        <c:axId val="956349616"/>
        <c:axId val="1009392864"/>
      </c:barChart>
      <c:catAx>
        <c:axId val="9563496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009392864"/>
        <c:crosses val="autoZero"/>
        <c:auto val="1"/>
        <c:lblAlgn val="ctr"/>
        <c:lblOffset val="100"/>
        <c:noMultiLvlLbl val="0"/>
      </c:catAx>
      <c:valAx>
        <c:axId val="1009392864"/>
        <c:scaling>
          <c:orientation val="minMax"/>
        </c:scaling>
        <c:delete val="1"/>
        <c:axPos val="l"/>
        <c:numFmt formatCode="General" sourceLinked="1"/>
        <c:majorTickMark val="none"/>
        <c:minorTickMark val="none"/>
        <c:tickLblPos val="nextTo"/>
        <c:crossAx val="95634961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 0)</a:t>
            </a:r>
          </a:p>
        </cx:rich>
      </cx:tx>
    </cx:title>
    <cx:plotArea>
      <cx:plotAreaRegion>
        <cx:series layoutId="boxWhisker" uniqueId="{69EDCBC7-1EE4-46E0-8298-66CDE9840F71}">
          <cx:tx>
            <cx:txData>
              <cx:f>'DRT Rolling Mean'!$C$1</cx:f>
              <cx:v>Volumetric Flow Meter 1</cx:v>
            </cx:txData>
          </cx:tx>
          <cx:dataId val="0"/>
          <cx:layoutPr>
            <cx:visibility meanLine="0" meanMarker="1" nonoutliers="0" outliers="1"/>
            <cx:statistics quartileMethod="exclusive"/>
          </cx:layoutPr>
        </cx:series>
        <cx:series layoutId="boxWhisker" uniqueId="{7986603C-3A05-4EB7-BCD0-5F976C2756C5}">
          <cx:tx>
            <cx:txData>
              <cx:f>'DRT Rolling Mean'!$D$1</cx:f>
              <cx:v>Volumetric Flow Meter 2</cx:v>
            </cx:txData>
          </cx:tx>
          <cx:dataId val="1"/>
          <cx:layoutPr>
            <cx:visibility meanLine="0" meanMarker="1" nonoutliers="0" outliers="1"/>
            <cx:statistics quartileMethod="exclusive"/>
          </cx:layoutPr>
        </cx:series>
        <cx:series layoutId="boxWhisker" uniqueId="{EDE8B328-0FBB-4462-B2E9-88F85F88824F}">
          <cx:tx>
            <cx:txData>
              <cx:f>'DRT Rolling Mean'!$E$1</cx:f>
              <cx:v>Pump Speed (RPM)</cx:v>
            </cx:txData>
          </cx:tx>
          <cx:dataId val="2"/>
          <cx:layoutPr>
            <cx:visibility meanLine="0" meanMarker="1" nonoutliers="0" outliers="1"/>
            <cx:statistics quartileMethod="exclusive"/>
          </cx:layoutPr>
        </cx:series>
        <cx:series layoutId="boxWhisker" uniqueId="{3E79775D-8079-49A7-96F9-A63E434A9723}">
          <cx:tx>
            <cx:txData>
              <cx:f>'DRT Rolling Mean'!$F$1</cx:f>
              <cx:v>Pump Torque </cx:v>
            </cx:txData>
          </cx:tx>
          <cx:dataId val="3"/>
          <cx:layoutPr>
            <cx:visibility meanLine="0" meanMarker="1" nonoutliers="0" outliers="1"/>
            <cx:statistics quartileMethod="exclusive"/>
          </cx:layoutPr>
        </cx:series>
        <cx:series layoutId="boxWhisker" uniqueId="{1D3B1A72-C306-425A-88DB-26D6EBEDE744}">
          <cx:tx>
            <cx:txData>
              <cx:f>'DRT Rolling Mean'!$G$1</cx:f>
              <cx:v>Ambient Temperature</cx:v>
            </cx:txData>
          </cx:tx>
          <cx:dataId val="4"/>
          <cx:layoutPr>
            <cx:visibility meanLine="0" meanMarker="1" nonoutliers="0" outliers="1"/>
            <cx:statistics quartileMethod="exclusive"/>
          </cx:layoutPr>
        </cx:series>
        <cx:series layoutId="boxWhisker" uniqueId="{FF1E41E0-2E63-47A1-842A-7D34FE200E1F}">
          <cx:tx>
            <cx:txData>
              <cx:f>'DRT Rolling Mean'!$H$1</cx:f>
              <cx:v>Horse Power</cx:v>
            </cx:txData>
          </cx:tx>
          <cx:dataId val="5"/>
          <cx:layoutPr>
            <cx:visibility meanLine="0" meanMarker="1" nonoutliers="0" outliers="1"/>
            <cx:statistics quartileMethod="exclusive"/>
          </cx:layoutPr>
        </cx:series>
        <cx:series layoutId="boxWhisker" uniqueId="{33663F6D-7C61-407B-9DC0-6559F6AE6045}">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1 </a:t>
            </a:r>
          </a:p>
        </cx:rich>
      </cx:tx>
    </cx:title>
    <cx:plotArea>
      <cx:plotAreaRegion>
        <cx:series layoutId="boxWhisker" uniqueId="{6D73742D-1999-4396-9E74-FFF31FDB2043}">
          <cx:tx>
            <cx:txData>
              <cx:f>'DRT Rolling Mean'!$C$1</cx:f>
              <cx:v>Volumetric Flow Meter 1</cx:v>
            </cx:txData>
          </cx:tx>
          <cx:dataId val="0"/>
          <cx:layoutPr>
            <cx:visibility meanLine="0" meanMarker="1" nonoutliers="0" outliers="1"/>
            <cx:statistics quartileMethod="exclusive"/>
          </cx:layoutPr>
        </cx:series>
        <cx:series layoutId="boxWhisker" uniqueId="{573033AF-BDB9-4DCB-A03E-FD96B9D733DB}">
          <cx:tx>
            <cx:txData>
              <cx:f>'DRT Rolling Mean'!$D$1</cx:f>
              <cx:v>Volumetric Flow Meter 2</cx:v>
            </cx:txData>
          </cx:tx>
          <cx:dataId val="1"/>
          <cx:layoutPr>
            <cx:visibility meanLine="0" meanMarker="1" nonoutliers="0" outliers="1"/>
            <cx:statistics quartileMethod="exclusive"/>
          </cx:layoutPr>
        </cx:series>
        <cx:series layoutId="boxWhisker" uniqueId="{27FF3D58-7F11-4D96-BB35-2F46296C5C55}">
          <cx:tx>
            <cx:txData>
              <cx:f>'DRT Rolling Mean'!$E$1</cx:f>
              <cx:v>Pump Speed (RPM)</cx:v>
            </cx:txData>
          </cx:tx>
          <cx:dataId val="2"/>
          <cx:layoutPr>
            <cx:visibility meanLine="0" meanMarker="1" nonoutliers="0" outliers="1"/>
            <cx:statistics quartileMethod="exclusive"/>
          </cx:layoutPr>
        </cx:series>
        <cx:series layoutId="boxWhisker" uniqueId="{E867A1AB-FC22-4541-B494-5F477C33421A}">
          <cx:tx>
            <cx:txData>
              <cx:f>'DRT Rolling Mean'!$F$1</cx:f>
              <cx:v>Pump Torque </cx:v>
            </cx:txData>
          </cx:tx>
          <cx:dataId val="3"/>
          <cx:layoutPr>
            <cx:visibility meanLine="0" meanMarker="1" nonoutliers="0" outliers="1"/>
            <cx:statistics quartileMethod="exclusive"/>
          </cx:layoutPr>
        </cx:series>
        <cx:series layoutId="boxWhisker" uniqueId="{40B7A673-AAFE-4932-8FA6-D9A22CF998D6}">
          <cx:tx>
            <cx:txData>
              <cx:f>'DRT Rolling Mean'!$G$1</cx:f>
              <cx:v>Ambient Temperature</cx:v>
            </cx:txData>
          </cx:tx>
          <cx:dataId val="4"/>
          <cx:layoutPr>
            <cx:visibility meanLine="0" meanMarker="1" nonoutliers="0" outliers="1"/>
            <cx:statistics quartileMethod="exclusive"/>
          </cx:layoutPr>
        </cx:series>
        <cx:series layoutId="boxWhisker" uniqueId="{661AB930-3384-448B-9B1D-F2E1922D057F}">
          <cx:tx>
            <cx:txData>
              <cx:f>'DRT Rolling Mean'!$H$1</cx:f>
              <cx:v>Horse Power</cx:v>
            </cx:txData>
          </cx:tx>
          <cx:dataId val="5"/>
          <cx:layoutPr>
            <cx:visibility meanLine="0" meanMarker="1" nonoutliers="0" outliers="1"/>
            <cx:statistics quartileMethod="exclusive"/>
          </cx:layoutPr>
        </cx:series>
        <cx:series layoutId="boxWhisker" uniqueId="{124F5A23-6140-4718-AC4A-210E66C4775C}">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11.xml><?xml version="1.0" encoding="utf-8"?>
<cs:colorStyle xmlns:cs="http://schemas.microsoft.com/office/drawing/2012/chartStyle" xmlns:a="http://schemas.openxmlformats.org/drawingml/2006/main" meth="withinLinearReversed" id="25">
  <a:schemeClr val="accent5"/>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1/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915DA420-76F5-42B4-8A5B-196826B72F11}"/>
              </a:ext>
            </a:extLst>
          </p:cNvPr>
          <p:cNvGraphicFramePr>
            <a:graphicFrameLocks/>
          </p:cNvGraphicFramePr>
          <p:nvPr>
            <p:extLst>
              <p:ext uri="{D42A27DB-BD31-4B8C-83A1-F6EECF244321}">
                <p14:modId xmlns:p14="http://schemas.microsoft.com/office/powerpoint/2010/main" val="2163433796"/>
              </p:ext>
            </p:extLst>
          </p:nvPr>
        </p:nvGraphicFramePr>
        <p:xfrm>
          <a:off x="171450" y="981004"/>
          <a:ext cx="8439149" cy="3163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FE44C24B-65FC-469A-A57D-B86A83969AAC}"/>
              </a:ext>
            </a:extLst>
          </p:cNvPr>
          <p:cNvGraphicFramePr>
            <a:graphicFrameLocks noGrp="1"/>
          </p:cNvGraphicFramePr>
          <p:nvPr>
            <p:extLst>
              <p:ext uri="{D42A27DB-BD31-4B8C-83A1-F6EECF244321}">
                <p14:modId xmlns:p14="http://schemas.microsoft.com/office/powerpoint/2010/main" val="4083297653"/>
              </p:ext>
            </p:extLst>
          </p:nvPr>
        </p:nvGraphicFramePr>
        <p:xfrm>
          <a:off x="248356" y="4309271"/>
          <a:ext cx="2540001" cy="1835052"/>
        </p:xfrm>
        <a:graphic>
          <a:graphicData uri="http://schemas.openxmlformats.org/drawingml/2006/table">
            <a:tbl>
              <a:tblPr>
                <a:tableStyleId>{5C22544A-7EE6-4342-B048-85BDC9FD1C3A}</a:tableStyleId>
              </a:tblPr>
              <a:tblGrid>
                <a:gridCol w="926268">
                  <a:extLst>
                    <a:ext uri="{9D8B030D-6E8A-4147-A177-3AD203B41FA5}">
                      <a16:colId xmlns:a16="http://schemas.microsoft.com/office/drawing/2014/main" val="2414233842"/>
                    </a:ext>
                  </a:extLst>
                </a:gridCol>
                <a:gridCol w="1143362">
                  <a:extLst>
                    <a:ext uri="{9D8B030D-6E8A-4147-A177-3AD203B41FA5}">
                      <a16:colId xmlns:a16="http://schemas.microsoft.com/office/drawing/2014/main" val="3806452753"/>
                    </a:ext>
                  </a:extLst>
                </a:gridCol>
                <a:gridCol w="470371">
                  <a:extLst>
                    <a:ext uri="{9D8B030D-6E8A-4147-A177-3AD203B41FA5}">
                      <a16:colId xmlns:a16="http://schemas.microsoft.com/office/drawing/2014/main" val="3438984705"/>
                    </a:ext>
                  </a:extLst>
                </a:gridCol>
              </a:tblGrid>
              <a:tr h="185776">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4657" marR="4657" marT="4657" marB="0" anchor="b"/>
                </a:tc>
                <a:tc>
                  <a:txBody>
                    <a:bodyPr/>
                    <a:lstStyle/>
                    <a:p>
                      <a:pPr algn="l" fontAlgn="b"/>
                      <a:r>
                        <a:rPr lang="en-US" sz="800" u="none" strike="noStrike">
                          <a:effectLst/>
                        </a:rPr>
                        <a:t> </a:t>
                      </a:r>
                      <a:endParaRPr lang="en-US" sz="800" b="0"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365410539"/>
                  </a:ext>
                </a:extLst>
              </a:tr>
              <a:tr h="185776">
                <a:tc>
                  <a:txBody>
                    <a:bodyPr/>
                    <a:lstStyle/>
                    <a:p>
                      <a:pPr algn="l" fontAlgn="b"/>
                      <a:r>
                        <a:rPr lang="en-US" sz="800" u="none" strike="noStrike">
                          <a:effectLst/>
                        </a:rPr>
                        <a:t>Raw Data</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r>
                        <a:rPr lang="en-US" sz="800" u="none" strike="noStrike">
                          <a:effectLst/>
                        </a:rPr>
                        <a:t>Correlation Coefficient</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918993330"/>
                  </a:ext>
                </a:extLst>
              </a:tr>
              <a:tr h="189093">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1211472</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4096225359"/>
                  </a:ext>
                </a:extLst>
              </a:tr>
              <a:tr h="199045">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684351</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884968113"/>
                  </a:ext>
                </a:extLst>
              </a:tr>
              <a:tr h="199045">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508317</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2439226067"/>
                  </a:ext>
                </a:extLst>
              </a:tr>
              <a:tr h="199045">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0794584</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94490287"/>
                  </a:ext>
                </a:extLst>
              </a:tr>
              <a:tr h="199045">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33192706</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809866619"/>
                  </a:ext>
                </a:extLst>
              </a:tr>
              <a:tr h="199045">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60016062</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661647821"/>
                  </a:ext>
                </a:extLst>
              </a:tr>
              <a:tr h="199045">
                <a:tc>
                  <a:txBody>
                    <a:bodyPr/>
                    <a:lstStyle/>
                    <a:p>
                      <a:pPr algn="l" fontAlgn="b"/>
                      <a:r>
                        <a:rPr lang="en-US" sz="700" u="none" strike="noStrike" dirty="0">
                          <a:effectLst/>
                        </a:rPr>
                        <a:t>Horse-Power</a:t>
                      </a:r>
                      <a:endParaRPr lang="en-US" sz="700" b="0" i="0" u="none" strike="noStrike" dirty="0">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421844074</a:t>
                      </a:r>
                      <a:endParaRPr lang="en-US" sz="800" b="0" i="0" u="none" strike="noStrike">
                        <a:solidFill>
                          <a:srgbClr val="0061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748167494"/>
                  </a:ext>
                </a:extLst>
              </a:tr>
            </a:tbl>
          </a:graphicData>
        </a:graphic>
      </p:graphicFrame>
      <p:graphicFrame>
        <p:nvGraphicFramePr>
          <p:cNvPr id="6" name="Table 5">
            <a:extLst>
              <a:ext uri="{FF2B5EF4-FFF2-40B4-BE49-F238E27FC236}">
                <a16:creationId xmlns:a16="http://schemas.microsoft.com/office/drawing/2014/main" id="{732874C0-0624-4CB5-8F7A-39F72FC10D3F}"/>
              </a:ext>
            </a:extLst>
          </p:cNvPr>
          <p:cNvGraphicFramePr>
            <a:graphicFrameLocks noGrp="1"/>
          </p:cNvGraphicFramePr>
          <p:nvPr>
            <p:extLst>
              <p:ext uri="{D42A27DB-BD31-4B8C-83A1-F6EECF244321}">
                <p14:modId xmlns:p14="http://schemas.microsoft.com/office/powerpoint/2010/main" val="429700934"/>
              </p:ext>
            </p:extLst>
          </p:nvPr>
        </p:nvGraphicFramePr>
        <p:xfrm>
          <a:off x="3288243" y="4309272"/>
          <a:ext cx="2333624" cy="1908670"/>
        </p:xfrm>
        <a:graphic>
          <a:graphicData uri="http://schemas.openxmlformats.org/drawingml/2006/table">
            <a:tbl>
              <a:tblPr>
                <a:tableStyleId>{5C22544A-7EE6-4342-B048-85BDC9FD1C3A}</a:tableStyleId>
              </a:tblPr>
              <a:tblGrid>
                <a:gridCol w="763841">
                  <a:extLst>
                    <a:ext uri="{9D8B030D-6E8A-4147-A177-3AD203B41FA5}">
                      <a16:colId xmlns:a16="http://schemas.microsoft.com/office/drawing/2014/main" val="3704608442"/>
                    </a:ext>
                  </a:extLst>
                </a:gridCol>
                <a:gridCol w="1569783">
                  <a:extLst>
                    <a:ext uri="{9D8B030D-6E8A-4147-A177-3AD203B41FA5}">
                      <a16:colId xmlns:a16="http://schemas.microsoft.com/office/drawing/2014/main" val="2459847440"/>
                    </a:ext>
                  </a:extLst>
                </a:gridCol>
              </a:tblGrid>
              <a:tr h="263442">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5253" marR="5253" marT="5253" marB="0" anchor="b"/>
                </a:tc>
                <a:tc>
                  <a:txBody>
                    <a:bodyPr/>
                    <a:lstStyle/>
                    <a:p>
                      <a:pPr algn="l" fontAlgn="b"/>
                      <a:r>
                        <a:rPr lang="en-US" sz="900" u="none" strike="noStrike" dirty="0">
                          <a:effectLst/>
                        </a:rPr>
                        <a:t>Rolling Mean (30 Minute) Correlation Coefficient</a:t>
                      </a:r>
                      <a:endParaRPr lang="en-US" sz="900" b="0" i="0" u="none" strike="noStrike" dirty="0">
                        <a:solidFill>
                          <a:srgbClr val="FFFFFF"/>
                        </a:solidFill>
                        <a:effectLst/>
                        <a:latin typeface="Arial" panose="020B0604020202020204" pitchFamily="34" charset="0"/>
                      </a:endParaRPr>
                    </a:p>
                  </a:txBody>
                  <a:tcPr marL="5253" marR="5253" marT="5253" marB="0" anchor="b"/>
                </a:tc>
                <a:extLst>
                  <a:ext uri="{0D108BD9-81ED-4DB2-BD59-A6C34878D82A}">
                    <a16:rowId xmlns:a16="http://schemas.microsoft.com/office/drawing/2014/main" val="4286654684"/>
                  </a:ext>
                </a:extLst>
              </a:tr>
              <a:tr h="234721">
                <a:tc>
                  <a:txBody>
                    <a:bodyPr/>
                    <a:lstStyle/>
                    <a:p>
                      <a:pPr algn="l" fontAlgn="b"/>
                      <a:r>
                        <a:rPr lang="en-US" sz="800" u="none" strike="noStrike">
                          <a:effectLst/>
                        </a:rPr>
                        <a:t>Volumetric Flow Meter 2</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7731416</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79324519"/>
                  </a:ext>
                </a:extLst>
              </a:tr>
              <a:tr h="203759">
                <a:tc>
                  <a:txBody>
                    <a:bodyPr/>
                    <a:lstStyle/>
                    <a:p>
                      <a:pPr algn="l" fontAlgn="b"/>
                      <a:r>
                        <a:rPr lang="en-US" sz="800" u="none" strike="noStrike">
                          <a:effectLst/>
                        </a:rPr>
                        <a:t>Pump Efficiency</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502783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051740848"/>
                  </a:ext>
                </a:extLst>
              </a:tr>
              <a:tr h="234721">
                <a:tc>
                  <a:txBody>
                    <a:bodyPr/>
                    <a:lstStyle/>
                    <a:p>
                      <a:pPr algn="l" fontAlgn="b"/>
                      <a:r>
                        <a:rPr lang="en-US" sz="800" u="none" strike="noStrike">
                          <a:effectLst/>
                        </a:rPr>
                        <a:t>Volumetric Flow Meter 1</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2425138</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743405334"/>
                  </a:ext>
                </a:extLst>
              </a:tr>
              <a:tr h="234721">
                <a:tc>
                  <a:txBody>
                    <a:bodyPr/>
                    <a:lstStyle/>
                    <a:p>
                      <a:pPr algn="l" fontAlgn="b"/>
                      <a:r>
                        <a:rPr lang="en-US" sz="800" u="none" strike="noStrike">
                          <a:effectLst/>
                        </a:rPr>
                        <a:t>Ambient Temperature</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302615535</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48078777"/>
                  </a:ext>
                </a:extLst>
              </a:tr>
              <a:tr h="214483">
                <a:tc>
                  <a:txBody>
                    <a:bodyPr/>
                    <a:lstStyle/>
                    <a:p>
                      <a:pPr algn="l" fontAlgn="b"/>
                      <a:r>
                        <a:rPr lang="en-US" sz="800" u="none" strike="noStrike">
                          <a:effectLst/>
                        </a:rPr>
                        <a:t>Pump Torque </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21593744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2382352386"/>
                  </a:ext>
                </a:extLst>
              </a:tr>
              <a:tr h="234721">
                <a:tc>
                  <a:txBody>
                    <a:bodyPr/>
                    <a:lstStyle/>
                    <a:p>
                      <a:pPr algn="l" fontAlgn="b"/>
                      <a:r>
                        <a:rPr lang="en-US" sz="800" u="none" strike="noStrike">
                          <a:effectLst/>
                        </a:rPr>
                        <a:t>Pump Speed (RPM)</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184159622</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974645938"/>
                  </a:ext>
                </a:extLst>
              </a:tr>
              <a:tr h="214483">
                <a:tc>
                  <a:txBody>
                    <a:bodyPr/>
                    <a:lstStyle/>
                    <a:p>
                      <a:pPr algn="l" fontAlgn="b"/>
                      <a:r>
                        <a:rPr lang="en-US" sz="800" u="none" strike="noStrike" dirty="0">
                          <a:effectLst/>
                        </a:rPr>
                        <a:t>Horse-Power</a:t>
                      </a:r>
                      <a:endParaRPr lang="en-US" sz="800" b="0" i="0" u="none" strike="noStrike" dirty="0">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dirty="0">
                          <a:effectLst/>
                        </a:rPr>
                        <a:t>0.218050641</a:t>
                      </a:r>
                      <a:endParaRPr lang="en-US" sz="900" b="0" i="0" u="none" strike="noStrike" dirty="0">
                        <a:solidFill>
                          <a:srgbClr val="006100"/>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46987886"/>
                  </a:ext>
                </a:extLst>
              </a:tr>
            </a:tbl>
          </a:graphicData>
        </a:graphic>
      </p:graphicFrame>
      <p:graphicFrame>
        <p:nvGraphicFramePr>
          <p:cNvPr id="10" name="Table 9">
            <a:extLst>
              <a:ext uri="{FF2B5EF4-FFF2-40B4-BE49-F238E27FC236}">
                <a16:creationId xmlns:a16="http://schemas.microsoft.com/office/drawing/2014/main" id="{BF995A5A-9435-4659-8C2B-855C9F192780}"/>
              </a:ext>
            </a:extLst>
          </p:cNvPr>
          <p:cNvGraphicFramePr>
            <a:graphicFrameLocks noGrp="1"/>
          </p:cNvGraphicFramePr>
          <p:nvPr>
            <p:extLst>
              <p:ext uri="{D42A27DB-BD31-4B8C-83A1-F6EECF244321}">
                <p14:modId xmlns:p14="http://schemas.microsoft.com/office/powerpoint/2010/main" val="1746005982"/>
              </p:ext>
            </p:extLst>
          </p:nvPr>
        </p:nvGraphicFramePr>
        <p:xfrm>
          <a:off x="6121753" y="4309270"/>
          <a:ext cx="2700514" cy="1950418"/>
        </p:xfrm>
        <a:graphic>
          <a:graphicData uri="http://schemas.openxmlformats.org/drawingml/2006/table">
            <a:tbl>
              <a:tblPr>
                <a:tableStyleId>{5C22544A-7EE6-4342-B048-85BDC9FD1C3A}</a:tableStyleId>
              </a:tblPr>
              <a:tblGrid>
                <a:gridCol w="1230127">
                  <a:extLst>
                    <a:ext uri="{9D8B030D-6E8A-4147-A177-3AD203B41FA5}">
                      <a16:colId xmlns:a16="http://schemas.microsoft.com/office/drawing/2014/main" val="3643701534"/>
                    </a:ext>
                  </a:extLst>
                </a:gridCol>
                <a:gridCol w="1470387">
                  <a:extLst>
                    <a:ext uri="{9D8B030D-6E8A-4147-A177-3AD203B41FA5}">
                      <a16:colId xmlns:a16="http://schemas.microsoft.com/office/drawing/2014/main" val="260051517"/>
                    </a:ext>
                  </a:extLst>
                </a:gridCol>
              </a:tblGrid>
              <a:tr h="188121">
                <a:tc>
                  <a:txBody>
                    <a:bodyPr/>
                    <a:lstStyle/>
                    <a:p>
                      <a:pPr algn="l" fontAlgn="b"/>
                      <a:r>
                        <a:rPr lang="en-US" sz="600" u="none" strike="noStrike">
                          <a:effectLst/>
                        </a:rPr>
                        <a:t>PUMP FAILURE (1 or 0)</a:t>
                      </a:r>
                      <a:endParaRPr lang="en-US" sz="600" b="1" i="0" u="none" strike="noStrike">
                        <a:solidFill>
                          <a:srgbClr val="FFFFFF"/>
                        </a:solidFill>
                        <a:effectLst/>
                        <a:latin typeface="Calibri" panose="020F0502020204030204" pitchFamily="34" charset="0"/>
                      </a:endParaRPr>
                    </a:p>
                  </a:txBody>
                  <a:tcPr marL="4244" marR="4244" marT="4244" marB="0" anchor="b"/>
                </a:tc>
                <a:tc>
                  <a:txBody>
                    <a:bodyPr/>
                    <a:lstStyle/>
                    <a:p>
                      <a:pPr algn="l" fontAlgn="b"/>
                      <a:r>
                        <a:rPr lang="en-US" sz="700" u="none" strike="noStrike">
                          <a:effectLst/>
                        </a:rPr>
                        <a:t> </a:t>
                      </a:r>
                      <a:endParaRPr lang="en-US" sz="700" b="0"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3688291828"/>
                  </a:ext>
                </a:extLst>
              </a:tr>
              <a:tr h="361463">
                <a:tc>
                  <a:txBody>
                    <a:bodyPr/>
                    <a:lstStyle/>
                    <a:p>
                      <a:pPr algn="l" fontAlgn="b"/>
                      <a:r>
                        <a:rPr lang="en-US" sz="700" u="none" strike="noStrike">
                          <a:effectLst/>
                        </a:rPr>
                        <a:t>Rolling Stdev (30 Minute)</a:t>
                      </a:r>
                      <a:endParaRPr lang="en-US" sz="700" b="1" i="0" u="none" strike="noStrike">
                        <a:solidFill>
                          <a:srgbClr val="FFFFFF"/>
                        </a:solidFill>
                        <a:effectLst/>
                        <a:latin typeface="Arial" panose="020B0604020202020204" pitchFamily="34" charset="0"/>
                      </a:endParaRPr>
                    </a:p>
                  </a:txBody>
                  <a:tcPr marL="4244" marR="4244" marT="4244" marB="0" anchor="b"/>
                </a:tc>
                <a:tc>
                  <a:txBody>
                    <a:bodyPr/>
                    <a:lstStyle/>
                    <a:p>
                      <a:pPr algn="l" fontAlgn="b"/>
                      <a:r>
                        <a:rPr lang="en-US" sz="700" u="none" strike="noStrike">
                          <a:effectLst/>
                        </a:rPr>
                        <a:t>Correlation Coefficient</a:t>
                      </a:r>
                      <a:endParaRPr lang="en-US" sz="700" b="1"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2241373538"/>
                  </a:ext>
                </a:extLst>
              </a:tr>
              <a:tr h="191480">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597260414</a:t>
                      </a:r>
                      <a:endParaRPr lang="en-US" sz="700" b="0" i="0" u="none" strike="noStrike">
                        <a:solidFill>
                          <a:srgbClr val="9C0006"/>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671902921"/>
                  </a:ext>
                </a:extLst>
              </a:tr>
              <a:tr h="201559">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0005043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303887908"/>
                  </a:ext>
                </a:extLst>
              </a:tr>
              <a:tr h="201559">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4555908</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37976362"/>
                  </a:ext>
                </a:extLst>
              </a:tr>
              <a:tr h="201559">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592087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046909384"/>
                  </a:ext>
                </a:extLst>
              </a:tr>
              <a:tr h="201559">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705500126"/>
                  </a:ext>
                </a:extLst>
              </a:tr>
              <a:tr h="201559">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197079392"/>
                  </a:ext>
                </a:extLst>
              </a:tr>
              <a:tr h="201559">
                <a:tc>
                  <a:txBody>
                    <a:bodyPr/>
                    <a:lstStyle/>
                    <a:p>
                      <a:pPr algn="l" fontAlgn="b"/>
                      <a:r>
                        <a:rPr lang="en-US" sz="700" u="none" strike="noStrike" dirty="0">
                          <a:effectLst/>
                        </a:rPr>
                        <a:t>Horse Power</a:t>
                      </a:r>
                      <a:endParaRPr lang="en-US" sz="700" b="0" i="0" u="none" strike="noStrike" dirty="0">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dirty="0">
                          <a:effectLst/>
                        </a:rPr>
                        <a:t>0.69</a:t>
                      </a:r>
                      <a:endParaRPr lang="en-US" sz="700" b="0" i="0" u="none" strike="noStrike" dirty="0">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353292396"/>
                  </a:ext>
                </a:extLst>
              </a:tr>
            </a:tbl>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DE29D17E-CE95-4560-9DB4-17B786A57A25}"/>
              </a:ext>
            </a:extLst>
          </p:cNvPr>
          <p:cNvGraphicFramePr>
            <a:graphicFrameLocks/>
          </p:cNvGraphicFramePr>
          <p:nvPr>
            <p:extLst>
              <p:ext uri="{D42A27DB-BD31-4B8C-83A1-F6EECF244321}">
                <p14:modId xmlns:p14="http://schemas.microsoft.com/office/powerpoint/2010/main" val="3886872999"/>
              </p:ext>
            </p:extLst>
          </p:nvPr>
        </p:nvGraphicFramePr>
        <p:xfrm>
          <a:off x="171451" y="1416769"/>
          <a:ext cx="3565172" cy="30762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2017366-5918-4A91-90C5-AE5DC234DF83}"/>
              </a:ext>
            </a:extLst>
          </p:cNvPr>
          <p:cNvGraphicFramePr>
            <a:graphicFrameLocks/>
          </p:cNvGraphicFramePr>
          <p:nvPr>
            <p:extLst>
              <p:ext uri="{D42A27DB-BD31-4B8C-83A1-F6EECF244321}">
                <p14:modId xmlns:p14="http://schemas.microsoft.com/office/powerpoint/2010/main" val="3326855745"/>
              </p:ext>
            </p:extLst>
          </p:nvPr>
        </p:nvGraphicFramePr>
        <p:xfrm>
          <a:off x="4540250" y="1416769"/>
          <a:ext cx="3638109" cy="30310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pPr algn="just"/>
            <a:r>
              <a:rPr lang="en-GB" sz="1400" b="1" dirty="0"/>
              <a:t>Plots show a clear signature difference between that of normal behaviour and that of Failure with pump torque, pump speed,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3267367884"/>
                  </p:ext>
                </p:extLst>
              </p:nvPr>
            </p:nvGraphicFramePr>
            <p:xfrm>
              <a:off x="555324" y="1170050"/>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55324" y="1170050"/>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789171023"/>
                  </p:ext>
                </p:extLst>
              </p:nvPr>
            </p:nvGraphicFramePr>
            <p:xfrm>
              <a:off x="4609288" y="121624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609288" y="1216242"/>
                <a:ext cx="3887137" cy="22563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1EB3BAF7-CD6D-4E59-BA89-438B9E738BB2}"/>
                  </a:ext>
                </a:extLst>
              </p:cNvPr>
              <p:cNvGraphicFramePr/>
              <p:nvPr>
                <p:extLst>
                  <p:ext uri="{D42A27DB-BD31-4B8C-83A1-F6EECF244321}">
                    <p14:modId xmlns:p14="http://schemas.microsoft.com/office/powerpoint/2010/main" val="3929269814"/>
                  </p:ext>
                </p:extLst>
              </p:nvPr>
            </p:nvGraphicFramePr>
            <p:xfrm>
              <a:off x="4540250" y="3572943"/>
              <a:ext cx="3581866" cy="30311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hart 6">
                <a:extLst>
                  <a:ext uri="{FF2B5EF4-FFF2-40B4-BE49-F238E27FC236}">
                    <a16:creationId xmlns:a16="http://schemas.microsoft.com/office/drawing/2014/main" id="{1EB3BAF7-CD6D-4E59-BA89-438B9E738BB2}"/>
                  </a:ext>
                </a:extLst>
              </p:cNvPr>
              <p:cNvPicPr>
                <a:picLocks noGrp="1" noRot="1" noChangeAspect="1" noMove="1" noResize="1" noEditPoints="1" noAdjustHandles="1" noChangeArrowheads="1" noChangeShapeType="1"/>
              </p:cNvPicPr>
              <p:nvPr/>
            </p:nvPicPr>
            <p:blipFill>
              <a:blip r:embed="rId7"/>
              <a:stretch>
                <a:fillRect/>
              </a:stretch>
            </p:blipFill>
            <p:spPr>
              <a:xfrm>
                <a:off x="4540250" y="3572943"/>
                <a:ext cx="3581866" cy="3031122"/>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CBAFE551-97F5-44C2-89F4-0F6B69FC0FF2}"/>
                  </a:ext>
                </a:extLst>
              </p:cNvPr>
              <p:cNvGraphicFramePr/>
              <p:nvPr>
                <p:extLst>
                  <p:ext uri="{D42A27DB-BD31-4B8C-83A1-F6EECF244321}">
                    <p14:modId xmlns:p14="http://schemas.microsoft.com/office/powerpoint/2010/main" val="1790281023"/>
                  </p:ext>
                </p:extLst>
              </p:nvPr>
            </p:nvGraphicFramePr>
            <p:xfrm>
              <a:off x="695130" y="3656381"/>
              <a:ext cx="3160025" cy="254006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0" name="Chart 9">
                <a:extLst>
                  <a:ext uri="{FF2B5EF4-FFF2-40B4-BE49-F238E27FC236}">
                    <a16:creationId xmlns:a16="http://schemas.microsoft.com/office/drawing/2014/main" id="{CBAFE551-97F5-44C2-89F4-0F6B69FC0FF2}"/>
                  </a:ext>
                </a:extLst>
              </p:cNvPr>
              <p:cNvPicPr>
                <a:picLocks noGrp="1" noRot="1" noChangeAspect="1" noMove="1" noResize="1" noEditPoints="1" noAdjustHandles="1" noChangeArrowheads="1" noChangeShapeType="1"/>
              </p:cNvPicPr>
              <p:nvPr/>
            </p:nvPicPr>
            <p:blipFill>
              <a:blip r:embed="rId9"/>
              <a:stretch>
                <a:fillRect/>
              </a:stretch>
            </p:blipFill>
            <p:spPr>
              <a:xfrm>
                <a:off x="695130" y="3656381"/>
                <a:ext cx="3160025" cy="2540065"/>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05650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624A9DC-8878-4D92-B503-81654896EB9B}"/>
              </a:ext>
            </a:extLst>
          </p:cNvPr>
          <p:cNvGraphicFramePr>
            <a:graphicFrameLocks/>
          </p:cNvGraphicFramePr>
          <p:nvPr>
            <p:extLst>
              <p:ext uri="{D42A27DB-BD31-4B8C-83A1-F6EECF244321}">
                <p14:modId xmlns:p14="http://schemas.microsoft.com/office/powerpoint/2010/main" val="232363342"/>
              </p:ext>
            </p:extLst>
          </p:nvPr>
        </p:nvGraphicFramePr>
        <p:xfrm>
          <a:off x="4984045" y="1200938"/>
          <a:ext cx="3546758" cy="2580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BAF9A27-76ED-44ED-AAAD-39367D7FE3B4}"/>
              </a:ext>
            </a:extLst>
          </p:cNvPr>
          <p:cNvGraphicFramePr>
            <a:graphicFrameLocks/>
          </p:cNvGraphicFramePr>
          <p:nvPr>
            <p:extLst>
              <p:ext uri="{D42A27DB-BD31-4B8C-83A1-F6EECF244321}">
                <p14:modId xmlns:p14="http://schemas.microsoft.com/office/powerpoint/2010/main" val="3130405329"/>
              </p:ext>
            </p:extLst>
          </p:nvPr>
        </p:nvGraphicFramePr>
        <p:xfrm>
          <a:off x="716844" y="1981200"/>
          <a:ext cx="3081865" cy="31213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D83223C-BBFC-457D-BE9F-D9ECEA5B2434}"/>
              </a:ext>
            </a:extLst>
          </p:cNvPr>
          <p:cNvGraphicFramePr>
            <a:graphicFrameLocks/>
          </p:cNvGraphicFramePr>
          <p:nvPr>
            <p:extLst>
              <p:ext uri="{D42A27DB-BD31-4B8C-83A1-F6EECF244321}">
                <p14:modId xmlns:p14="http://schemas.microsoft.com/office/powerpoint/2010/main" val="245526234"/>
              </p:ext>
            </p:extLst>
          </p:nvPr>
        </p:nvGraphicFramePr>
        <p:xfrm>
          <a:off x="4645377" y="3978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922578967"/>
              </p:ext>
            </p:extLst>
          </p:nvPr>
        </p:nvGraphicFramePr>
        <p:xfrm>
          <a:off x="5029200" y="1450622"/>
          <a:ext cx="3702050" cy="3855155"/>
        </p:xfrm>
        <a:graphic>
          <a:graphicData uri="http://schemas.openxmlformats.org/drawingml/2006/table">
            <a:tbl>
              <a:tblPr>
                <a:tableStyleId>{073A0DAA-6AF3-43AB-8588-CEC1D06C72B9}</a:tableStyleId>
              </a:tblPr>
              <a:tblGrid>
                <a:gridCol w="2570213">
                  <a:extLst>
                    <a:ext uri="{9D8B030D-6E8A-4147-A177-3AD203B41FA5}">
                      <a16:colId xmlns:a16="http://schemas.microsoft.com/office/drawing/2014/main" val="3168761024"/>
                    </a:ext>
                  </a:extLst>
                </a:gridCol>
                <a:gridCol w="1131837">
                  <a:extLst>
                    <a:ext uri="{9D8B030D-6E8A-4147-A177-3AD203B41FA5}">
                      <a16:colId xmlns:a16="http://schemas.microsoft.com/office/drawing/2014/main" val="3675497687"/>
                    </a:ext>
                  </a:extLst>
                </a:gridCol>
              </a:tblGrid>
              <a:tr h="768195">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Horse Power</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lnT w="12700" cmpd="sng">
                      <a:noFill/>
                    </a:lnT>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3.5524E-2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11676550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2</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033E-17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629439303"/>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Efficiency</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592E-15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077524446"/>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Torque </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0551E-10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88985088"/>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Intercept</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8.27258E-2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5988378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Speed (RPM)</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68299E-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521281964"/>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Ambient Temperature</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20516E-0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002673970"/>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1</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01554E-07</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742560865"/>
                  </a:ext>
                </a:extLst>
              </a:tr>
            </a:tbl>
          </a:graphicData>
        </a:graphic>
      </p:graphicFrame>
      <p:graphicFrame>
        <p:nvGraphicFramePr>
          <p:cNvPr id="11" name="Chart 10">
            <a:extLst>
              <a:ext uri="{FF2B5EF4-FFF2-40B4-BE49-F238E27FC236}">
                <a16:creationId xmlns:a16="http://schemas.microsoft.com/office/drawing/2014/main" id="{F391F08E-5E5F-4BA7-A17C-5A3775E06291}"/>
              </a:ext>
            </a:extLst>
          </p:cNvPr>
          <p:cNvGraphicFramePr>
            <a:graphicFrameLocks/>
          </p:cNvGraphicFramePr>
          <p:nvPr>
            <p:extLst>
              <p:ext uri="{D42A27DB-BD31-4B8C-83A1-F6EECF244321}">
                <p14:modId xmlns:p14="http://schemas.microsoft.com/office/powerpoint/2010/main" val="1981608491"/>
              </p:ext>
            </p:extLst>
          </p:nvPr>
        </p:nvGraphicFramePr>
        <p:xfrm>
          <a:off x="171451" y="1321500"/>
          <a:ext cx="4572000" cy="42454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46</TotalTime>
  <Words>467</Words>
  <Application>Microsoft Macintosh PowerPoint</Application>
  <PresentationFormat>Custom</PresentationFormat>
  <Paragraphs>91</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Plots show a clear signature difference between that of normal behaviour and that of Failure with pump torque, pump speed, and pump efficiency showing the 3 largest variances.</vt:lpstr>
      <vt:lpstr>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vt:lpstr>
      <vt:lpstr>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94</cp:revision>
  <dcterms:created xsi:type="dcterms:W3CDTF">2020-04-12T13:23:13Z</dcterms:created>
  <dcterms:modified xsi:type="dcterms:W3CDTF">2022-01-31T04:33:51Z</dcterms:modified>
</cp:coreProperties>
</file>